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tags/tag64.xml" ContentType="application/vnd.openxmlformats-officedocument.presentationml.tags+xml"/>
  <Override PartName="/ppt/notesSlides/notesSlide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9.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13.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4.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7"/>
  </p:notesMasterIdLst>
  <p:handoutMasterIdLst>
    <p:handoutMasterId r:id="rId18"/>
  </p:handoutMasterIdLst>
  <p:sldIdLst>
    <p:sldId id="384" r:id="rId2"/>
    <p:sldId id="5146" r:id="rId3"/>
    <p:sldId id="5162" r:id="rId4"/>
    <p:sldId id="5164" r:id="rId5"/>
    <p:sldId id="5166" r:id="rId6"/>
    <p:sldId id="385" r:id="rId7"/>
    <p:sldId id="5161" r:id="rId8"/>
    <p:sldId id="5170" r:id="rId9"/>
    <p:sldId id="5153" r:id="rId10"/>
    <p:sldId id="5157" r:id="rId11"/>
    <p:sldId id="5154" r:id="rId12"/>
    <p:sldId id="5156" r:id="rId13"/>
    <p:sldId id="5163" r:id="rId14"/>
    <p:sldId id="5168" r:id="rId15"/>
    <p:sldId id="5167" r:id="rId16"/>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3A5F1C12-D422-4FD2-97B7-F26F047EADA3}" name="Bemeur, Chantal (SPAC/PSPC) (elle-la / she-her)" initials="Bs" userId="S::chantal.bemeur@tpsgc-pwgsc.gc.ca::97d9d3ea-19b5-4147-b2f7-c6eb9c5930c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B5B5B"/>
    <a:srgbClr val="B27A0A"/>
    <a:srgbClr val="409786"/>
    <a:srgbClr val="6DB761"/>
    <a:srgbClr val="4B4F54"/>
    <a:srgbClr val="839584"/>
    <a:srgbClr val="78A078"/>
    <a:srgbClr val="F2A920"/>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50F259-4704-4584-8F27-B0F493E0DAF2}" v="12" dt="2024-11-05T14:15:11.7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11" autoAdjust="0"/>
    <p:restoredTop sz="76456" autoAdjust="0"/>
  </p:normalViewPr>
  <p:slideViewPr>
    <p:cSldViewPr snapToGrid="0" snapToObjects="1">
      <p:cViewPr varScale="1">
        <p:scale>
          <a:sx n="84" d="100"/>
          <a:sy n="84" d="100"/>
        </p:scale>
        <p:origin x="1854" y="96"/>
      </p:cViewPr>
      <p:guideLst/>
    </p:cSldViewPr>
  </p:slideViewPr>
  <p:outlineViewPr>
    <p:cViewPr>
      <p:scale>
        <a:sx n="33" d="100"/>
        <a:sy n="33" d="100"/>
      </p:scale>
      <p:origin x="0" y="0"/>
    </p:cViewPr>
    <p:sldLst>
      <p:sld r:id="rId1" collapse="1"/>
      <p:sld r:id="rId2" collapse="1"/>
      <p:sld r:id="rId3"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86" d="100"/>
          <a:sy n="86" d="100"/>
        </p:scale>
        <p:origin x="386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 Id="rId27" Type="http://schemas.microsoft.com/office/2018/10/relationships/authors" Target="authors.xml"/></Relationships>
</file>

<file path=ppt/_rels/viewProps.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slide" Target="slides/slide2.xml"/><Relationship Id="rId1"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S::alain.dion3@tpsgc-pwgsc.gc.ca::b5972ad0-fee1-4393-9fd4-8bc589782ac7" providerId="AD" clId="Web-{28380147-FC3E-2D86-919E-FE6ECA0DA9DB}"/>
    <pc:docChg chg="modSld">
      <pc:chgData name="Dion3, Alain (SPAC/PSPC) (il-lui / he-him)" userId="S::alain.dion3@tpsgc-pwgsc.gc.ca::b5972ad0-fee1-4393-9fd4-8bc589782ac7" providerId="AD" clId="Web-{28380147-FC3E-2D86-919E-FE6ECA0DA9DB}" dt="2024-10-28T15:39:17.182" v="7"/>
      <pc:docMkLst>
        <pc:docMk/>
      </pc:docMkLst>
      <pc:sldChg chg="modSp modCm modNotes">
        <pc:chgData name="Dion3, Alain (SPAC/PSPC) (il-lui / he-him)" userId="S::alain.dion3@tpsgc-pwgsc.gc.ca::b5972ad0-fee1-4393-9fd4-8bc589782ac7" providerId="AD" clId="Web-{28380147-FC3E-2D86-919E-FE6ECA0DA9DB}" dt="2024-10-28T15:39:17.182" v="7"/>
        <pc:sldMkLst>
          <pc:docMk/>
          <pc:sldMk cId="2643018674" sldId="5164"/>
        </pc:sldMkLst>
        <pc:spChg chg="mod">
          <ac:chgData name="Dion3, Alain (SPAC/PSPC) (il-lui / he-him)" userId="S::alain.dion3@tpsgc-pwgsc.gc.ca::b5972ad0-fee1-4393-9fd4-8bc589782ac7" providerId="AD" clId="Web-{28380147-FC3E-2D86-919E-FE6ECA0DA9DB}" dt="2024-10-28T15:38:55.120" v="0" actId="20577"/>
          <ac:spMkLst>
            <pc:docMk/>
            <pc:sldMk cId="2643018674" sldId="5164"/>
            <ac:spMk id="5" creationId="{D0DACE9A-1229-9EEE-A180-51B071D4E977}"/>
          </ac:spMkLst>
        </pc:spChg>
        <pc:spChg chg="mod">
          <ac:chgData name="Dion3, Alain (SPAC/PSPC) (il-lui / he-him)" userId="S::alain.dion3@tpsgc-pwgsc.gc.ca::b5972ad0-fee1-4393-9fd4-8bc589782ac7" providerId="AD" clId="Web-{28380147-FC3E-2D86-919E-FE6ECA0DA9DB}" dt="2024-10-28T15:39:05.245" v="5" actId="20577"/>
          <ac:spMkLst>
            <pc:docMk/>
            <pc:sldMk cId="2643018674" sldId="5164"/>
            <ac:spMk id="12" creationId="{6A3B9CD2-AFBF-BEF4-7CE5-AED963949FAC}"/>
          </ac:spMkLst>
        </pc:spChg>
        <pc:extLst>
          <p:ext xmlns:p="http://schemas.openxmlformats.org/presentationml/2006/main" uri="{D6D511B9-2390-475A-947B-AFAB55BFBCF1}">
            <pc226:cmChg xmlns:pc226="http://schemas.microsoft.com/office/powerpoint/2022/06/main/command" chg="mod">
              <pc226:chgData name="Dion3, Alain (SPAC/PSPC) (il-lui / he-him)" userId="S::alain.dion3@tpsgc-pwgsc.gc.ca::b5972ad0-fee1-4393-9fd4-8bc589782ac7" providerId="AD" clId="Web-{28380147-FC3E-2D86-919E-FE6ECA0DA9DB}" dt="2024-10-28T15:39:04.229" v="4" actId="20577"/>
              <pc2:cmMkLst xmlns:pc2="http://schemas.microsoft.com/office/powerpoint/2019/9/main/command">
                <pc:docMk/>
                <pc:sldMk cId="2643018674" sldId="5164"/>
                <pc2:cmMk id="{7F132811-33D1-4F42-BA40-C42C7B67BD9D}"/>
              </pc2:cmMkLst>
            </pc226:cmChg>
          </p:ext>
        </pc:extLst>
      </pc:sldChg>
    </pc:docChg>
  </pc:docChgLst>
  <pc:docChgLst>
    <pc:chgData name="Jacob, Karen (SPAC/PSPC) (elle-la / she-her)" userId="66e9cce0-e37b-4645-a907-f7690bd68dfb" providerId="ADAL" clId="{A3599A74-B049-44EE-8670-DE420CF3148A}"/>
    <pc:docChg chg="undo custSel addSld delSld modSld sldOrd">
      <pc:chgData name="Jacob, Karen (SPAC/PSPC) (elle-la / she-her)" userId="66e9cce0-e37b-4645-a907-f7690bd68dfb" providerId="ADAL" clId="{A3599A74-B049-44EE-8670-DE420CF3148A}" dt="2024-10-30T19:40:49.199" v="20505"/>
      <pc:docMkLst>
        <pc:docMk/>
      </pc:docMkLst>
      <pc:sldChg chg="addSp delSp modSp mod ord delCm modCm modNotesTx">
        <pc:chgData name="Jacob, Karen (SPAC/PSPC) (elle-la / she-her)" userId="66e9cce0-e37b-4645-a907-f7690bd68dfb" providerId="ADAL" clId="{A3599A74-B049-44EE-8670-DE420CF3148A}" dt="2024-10-30T19:34:01.335" v="19955" actId="20577"/>
        <pc:sldMkLst>
          <pc:docMk/>
          <pc:sldMk cId="782836501" sldId="385"/>
        </pc:sldMkLst>
        <pc:spChg chg="mod">
          <ac:chgData name="Jacob, Karen (SPAC/PSPC) (elle-la / she-her)" userId="66e9cce0-e37b-4645-a907-f7690bd68dfb" providerId="ADAL" clId="{A3599A74-B049-44EE-8670-DE420CF3148A}" dt="2024-10-30T19:22:25.111" v="19717" actId="14100"/>
          <ac:spMkLst>
            <pc:docMk/>
            <pc:sldMk cId="782836501" sldId="385"/>
            <ac:spMk id="2" creationId="{7848FF00-1347-4DA1-9437-1B4A0F154B78}"/>
          </ac:spMkLst>
        </pc:spChg>
        <pc:spChg chg="del mod">
          <ac:chgData name="Jacob, Karen (SPAC/PSPC) (elle-la / she-her)" userId="66e9cce0-e37b-4645-a907-f7690bd68dfb" providerId="ADAL" clId="{A3599A74-B049-44EE-8670-DE420CF3148A}" dt="2024-10-18T18:05:57.488" v="7719" actId="478"/>
          <ac:spMkLst>
            <pc:docMk/>
            <pc:sldMk cId="782836501" sldId="385"/>
            <ac:spMk id="9" creationId="{92961367-DDD3-8A64-C952-5C76064AAD47}"/>
          </ac:spMkLst>
        </pc:spChg>
        <pc:graphicFrameChg chg="add mod modGraphic">
          <ac:chgData name="Jacob, Karen (SPAC/PSPC) (elle-la / she-her)" userId="66e9cce0-e37b-4645-a907-f7690bd68dfb" providerId="ADAL" clId="{A3599A74-B049-44EE-8670-DE420CF3148A}" dt="2024-10-23T19:20:46.488" v="11667" actId="20577"/>
          <ac:graphicFrameMkLst>
            <pc:docMk/>
            <pc:sldMk cId="782836501" sldId="385"/>
            <ac:graphicFrameMk id="5" creationId="{47AF23CB-9CF8-3A93-AC5C-6849E2091E92}"/>
          </ac:graphicFrameMkLst>
        </pc:graphicFrame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22:39.304" v="19719"/>
              <pc2:cmMkLst xmlns:pc2="http://schemas.microsoft.com/office/powerpoint/2019/9/main/command">
                <pc:docMk/>
                <pc:sldMk cId="782836501" sldId="385"/>
                <pc2:cmMk id="{F499BB07-D7D6-4CC9-AFAD-00EF079EB961}"/>
              </pc2:cmMkLst>
              <pc226:cmRplyChg chg="add">
                <pc226:chgData name="Jacob, Karen (SPAC/PSPC) (elle-la / she-her)" userId="66e9cce0-e37b-4645-a907-f7690bd68dfb" providerId="ADAL" clId="{A3599A74-B049-44EE-8670-DE420CF3148A}" dt="2024-10-23T18:47:55.735" v="9946"/>
                <pc2:cmRplyMkLst xmlns:pc2="http://schemas.microsoft.com/office/powerpoint/2019/9/main/command">
                  <pc:docMk/>
                  <pc:sldMk cId="782836501" sldId="385"/>
                  <pc2:cmMk id="{F499BB07-D7D6-4CC9-AFAD-00EF079EB961}"/>
                  <pc2:cmRplyMk id="{25A1F558-FD9A-4F3D-A1B5-B07D129F9C0C}"/>
                </pc2:cmRplyMkLst>
              </pc226:cmRplyChg>
            </pc226:cmChg>
            <pc226:cmChg xmlns:pc226="http://schemas.microsoft.com/office/powerpoint/2022/06/main/command" chg="del">
              <pc226:chgData name="Jacob, Karen (SPAC/PSPC) (elle-la / she-her)" userId="66e9cce0-e37b-4645-a907-f7690bd68dfb" providerId="ADAL" clId="{A3599A74-B049-44EE-8670-DE420CF3148A}" dt="2024-10-30T19:22:37.728" v="19718"/>
              <pc2:cmMkLst xmlns:pc2="http://schemas.microsoft.com/office/powerpoint/2019/9/main/command">
                <pc:docMk/>
                <pc:sldMk cId="782836501" sldId="385"/>
                <pc2:cmMk id="{08DFA770-9AD2-43E9-B8D5-D28F93D15EE9}"/>
              </pc2:cmMkLst>
              <pc226:cmRplyChg chg="add mod">
                <pc226:chgData name="Jacob, Karen (SPAC/PSPC) (elle-la / she-her)" userId="66e9cce0-e37b-4645-a907-f7690bd68dfb" providerId="ADAL" clId="{A3599A74-B049-44EE-8670-DE420CF3148A}" dt="2024-10-23T20:13:07.977" v="17640"/>
                <pc2:cmRplyMkLst xmlns:pc2="http://schemas.microsoft.com/office/powerpoint/2019/9/main/command">
                  <pc:docMk/>
                  <pc:sldMk cId="782836501" sldId="385"/>
                  <pc2:cmMk id="{08DFA770-9AD2-43E9-B8D5-D28F93D15EE9}"/>
                  <pc2:cmRplyMk id="{0EF86619-E68D-407F-AC6E-A07DF633A65C}"/>
                </pc2:cmRplyMkLst>
              </pc226:cmRplyChg>
            </pc226:cmChg>
            <pc226:cmChg xmlns:pc226="http://schemas.microsoft.com/office/powerpoint/2022/06/main/command" chg="del mod">
              <pc226:chgData name="Jacob, Karen (SPAC/PSPC) (elle-la / she-her)" userId="66e9cce0-e37b-4645-a907-f7690bd68dfb" providerId="ADAL" clId="{A3599A74-B049-44EE-8670-DE420CF3148A}" dt="2024-10-30T19:22:40.258" v="19720"/>
              <pc2:cmMkLst xmlns:pc2="http://schemas.microsoft.com/office/powerpoint/2019/9/main/command">
                <pc:docMk/>
                <pc:sldMk cId="782836501" sldId="385"/>
                <pc2:cmMk id="{2BDB6A8A-A80B-41A7-A37B-6556F60CAF4D}"/>
              </pc2:cmMkLst>
            </pc226:cmChg>
          </p:ext>
        </pc:extLst>
      </pc:sldChg>
      <pc:sldChg chg="del">
        <pc:chgData name="Jacob, Karen (SPAC/PSPC) (elle-la / she-her)" userId="66e9cce0-e37b-4645-a907-f7690bd68dfb" providerId="ADAL" clId="{A3599A74-B049-44EE-8670-DE420CF3148A}" dt="2024-10-17T15:04:12.381" v="2174" actId="47"/>
        <pc:sldMkLst>
          <pc:docMk/>
          <pc:sldMk cId="3194185217" sldId="5000"/>
        </pc:sldMkLst>
      </pc:sldChg>
      <pc:sldChg chg="modSp del mod">
        <pc:chgData name="Jacob, Karen (SPAC/PSPC) (elle-la / she-her)" userId="66e9cce0-e37b-4645-a907-f7690bd68dfb" providerId="ADAL" clId="{A3599A74-B049-44EE-8670-DE420CF3148A}" dt="2024-10-18T12:39:48.451" v="4252" actId="47"/>
        <pc:sldMkLst>
          <pc:docMk/>
          <pc:sldMk cId="780127847" sldId="5020"/>
        </pc:sldMkLst>
        <pc:spChg chg="mod">
          <ac:chgData name="Jacob, Karen (SPAC/PSPC) (elle-la / she-her)" userId="66e9cce0-e37b-4645-a907-f7690bd68dfb" providerId="ADAL" clId="{A3599A74-B049-44EE-8670-DE420CF3148A}" dt="2024-10-17T14:52:37.789" v="2173" actId="20577"/>
          <ac:spMkLst>
            <pc:docMk/>
            <pc:sldMk cId="780127847" sldId="5020"/>
            <ac:spMk id="3" creationId="{CC8B02F3-0C27-03C9-5D56-EC07236B6660}"/>
          </ac:spMkLst>
        </pc:spChg>
      </pc:sldChg>
      <pc:sldChg chg="modSp del mod">
        <pc:chgData name="Jacob, Karen (SPAC/PSPC) (elle-la / she-her)" userId="66e9cce0-e37b-4645-a907-f7690bd68dfb" providerId="ADAL" clId="{A3599A74-B049-44EE-8670-DE420CF3148A}" dt="2024-10-18T12:40:58.575" v="4255" actId="47"/>
        <pc:sldMkLst>
          <pc:docMk/>
          <pc:sldMk cId="2411431044" sldId="5021"/>
        </pc:sldMkLst>
        <pc:spChg chg="mod">
          <ac:chgData name="Jacob, Karen (SPAC/PSPC) (elle-la / she-her)" userId="66e9cce0-e37b-4645-a907-f7690bd68dfb" providerId="ADAL" clId="{A3599A74-B049-44EE-8670-DE420CF3148A}" dt="2024-10-17T15:14:20.538" v="3019" actId="20577"/>
          <ac:spMkLst>
            <pc:docMk/>
            <pc:sldMk cId="2411431044" sldId="5021"/>
            <ac:spMk id="2" creationId="{9DE119AA-C27C-1F93-8533-D6E1F56A43A8}"/>
          </ac:spMkLst>
        </pc:spChg>
      </pc:sldChg>
      <pc:sldChg chg="modSp del mod ord">
        <pc:chgData name="Jacob, Karen (SPAC/PSPC) (elle-la / she-her)" userId="66e9cce0-e37b-4645-a907-f7690bd68dfb" providerId="ADAL" clId="{A3599A74-B049-44EE-8670-DE420CF3148A}" dt="2024-10-17T14:21:04.727" v="1001" actId="47"/>
        <pc:sldMkLst>
          <pc:docMk/>
          <pc:sldMk cId="3865673805" sldId="5022"/>
        </pc:sldMkLst>
        <pc:spChg chg="mod">
          <ac:chgData name="Jacob, Karen (SPAC/PSPC) (elle-la / she-her)" userId="66e9cce0-e37b-4645-a907-f7690bd68dfb" providerId="ADAL" clId="{A3599A74-B049-44EE-8670-DE420CF3148A}" dt="2024-10-08T20:19:37.619" v="3" actId="1076"/>
          <ac:spMkLst>
            <pc:docMk/>
            <pc:sldMk cId="3865673805" sldId="5022"/>
            <ac:spMk id="4" creationId="{5CFF1F66-C9F8-5499-40CC-51C8B8764C38}"/>
          </ac:spMkLst>
        </pc:spChg>
        <pc:spChg chg="mod">
          <ac:chgData name="Jacob, Karen (SPAC/PSPC) (elle-la / she-her)" userId="66e9cce0-e37b-4645-a907-f7690bd68dfb" providerId="ADAL" clId="{A3599A74-B049-44EE-8670-DE420CF3148A}" dt="2024-10-08T20:20:21.847" v="6" actId="14100"/>
          <ac:spMkLst>
            <pc:docMk/>
            <pc:sldMk cId="3865673805" sldId="5022"/>
            <ac:spMk id="47" creationId="{6F061153-9151-0D2F-6C2F-16E75EEC8F0B}"/>
          </ac:spMkLst>
        </pc:spChg>
        <pc:spChg chg="mod">
          <ac:chgData name="Jacob, Karen (SPAC/PSPC) (elle-la / she-her)" userId="66e9cce0-e37b-4645-a907-f7690bd68dfb" providerId="ADAL" clId="{A3599A74-B049-44EE-8670-DE420CF3148A}" dt="2024-10-08T20:20:24.227" v="7" actId="14100"/>
          <ac:spMkLst>
            <pc:docMk/>
            <pc:sldMk cId="3865673805" sldId="5022"/>
            <ac:spMk id="48" creationId="{6B16CA0D-CB1F-D6ED-89BE-F6616AE840BF}"/>
          </ac:spMkLst>
        </pc:spChg>
        <pc:spChg chg="mod">
          <ac:chgData name="Jacob, Karen (SPAC/PSPC) (elle-la / she-her)" userId="66e9cce0-e37b-4645-a907-f7690bd68dfb" providerId="ADAL" clId="{A3599A74-B049-44EE-8670-DE420CF3148A}" dt="2024-10-17T14:19:37.605" v="933" actId="1076"/>
          <ac:spMkLst>
            <pc:docMk/>
            <pc:sldMk cId="3865673805" sldId="5022"/>
            <ac:spMk id="51" creationId="{F808FB0B-95FB-588D-74D4-560CE24F641C}"/>
          </ac:spMkLst>
        </pc:spChg>
        <pc:spChg chg="mod">
          <ac:chgData name="Jacob, Karen (SPAC/PSPC) (elle-la / she-her)" userId="66e9cce0-e37b-4645-a907-f7690bd68dfb" providerId="ADAL" clId="{A3599A74-B049-44EE-8670-DE420CF3148A}" dt="2024-10-17T13:36:28.195" v="13" actId="1076"/>
          <ac:spMkLst>
            <pc:docMk/>
            <pc:sldMk cId="3865673805" sldId="5022"/>
            <ac:spMk id="53" creationId="{77D85CA5-B859-31BE-A852-18BCBED95D02}"/>
          </ac:spMkLst>
        </pc:spChg>
        <pc:spChg chg="mod">
          <ac:chgData name="Jacob, Karen (SPAC/PSPC) (elle-la / she-her)" userId="66e9cce0-e37b-4645-a907-f7690bd68dfb" providerId="ADAL" clId="{A3599A74-B049-44EE-8670-DE420CF3148A}" dt="2024-10-08T20:20:31.830" v="8" actId="14100"/>
          <ac:spMkLst>
            <pc:docMk/>
            <pc:sldMk cId="3865673805" sldId="5022"/>
            <ac:spMk id="54" creationId="{D1AF6197-0772-06C0-D39E-B685CA3A6EAD}"/>
          </ac:spMkLst>
        </pc:spChg>
        <pc:spChg chg="mod">
          <ac:chgData name="Jacob, Karen (SPAC/PSPC) (elle-la / she-her)" userId="66e9cce0-e37b-4645-a907-f7690bd68dfb" providerId="ADAL" clId="{A3599A74-B049-44EE-8670-DE420CF3148A}" dt="2024-10-17T13:36:37.428" v="16" actId="1076"/>
          <ac:spMkLst>
            <pc:docMk/>
            <pc:sldMk cId="3865673805" sldId="5022"/>
            <ac:spMk id="57" creationId="{80C64189-743E-1D6F-BC38-898A98A32465}"/>
          </ac:spMkLst>
        </pc:spChg>
        <pc:spChg chg="mod">
          <ac:chgData name="Jacob, Karen (SPAC/PSPC) (elle-la / she-her)" userId="66e9cce0-e37b-4645-a907-f7690bd68dfb" providerId="ADAL" clId="{A3599A74-B049-44EE-8670-DE420CF3148A}" dt="2024-10-17T13:36:33.364" v="15" actId="14100"/>
          <ac:spMkLst>
            <pc:docMk/>
            <pc:sldMk cId="3865673805" sldId="5022"/>
            <ac:spMk id="58" creationId="{62D48345-9A67-33B9-271D-D2722B58526B}"/>
          </ac:spMkLst>
        </pc:spChg>
      </pc:sldChg>
      <pc:sldChg chg="modSp mod delCm modCm">
        <pc:chgData name="Jacob, Karen (SPAC/PSPC) (elle-la / she-her)" userId="66e9cce0-e37b-4645-a907-f7690bd68dfb" providerId="ADAL" clId="{A3599A74-B049-44EE-8670-DE420CF3148A}" dt="2024-10-30T19:18:25.064" v="19482"/>
        <pc:sldMkLst>
          <pc:docMk/>
          <pc:sldMk cId="3499923032" sldId="5146"/>
        </pc:sldMkLst>
        <pc:spChg chg="mod">
          <ac:chgData name="Jacob, Karen (SPAC/PSPC) (elle-la / she-her)" userId="66e9cce0-e37b-4645-a907-f7690bd68dfb" providerId="ADAL" clId="{A3599A74-B049-44EE-8670-DE420CF3148A}" dt="2024-10-23T18:31:47.502" v="8931" actId="14100"/>
          <ac:spMkLst>
            <pc:docMk/>
            <pc:sldMk cId="3499923032" sldId="5146"/>
            <ac:spMk id="5" creationId="{249EDED2-ACA5-E482-22BD-5F1403FEDBE4}"/>
          </ac:spMkLst>
        </pc:spChg>
        <pc:spChg chg="mod">
          <ac:chgData name="Jacob, Karen (SPAC/PSPC) (elle-la / she-her)" userId="66e9cce0-e37b-4645-a907-f7690bd68dfb" providerId="ADAL" clId="{A3599A74-B049-44EE-8670-DE420CF3148A}" dt="2024-10-30T19:18:19.600" v="19480" actId="20577"/>
          <ac:spMkLst>
            <pc:docMk/>
            <pc:sldMk cId="3499923032" sldId="5146"/>
            <ac:spMk id="10" creationId="{000D524A-320F-6BB4-B947-05E0A947FBA7}"/>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18:25.064" v="19482"/>
              <pc2:cmMkLst xmlns:pc2="http://schemas.microsoft.com/office/powerpoint/2019/9/main/command">
                <pc:docMk/>
                <pc:sldMk cId="3499923032" sldId="5146"/>
                <pc2:cmMk id="{84837318-60D0-4AAA-A600-F35F7829DA8B}"/>
              </pc2:cmMkLst>
            </pc226:cmChg>
            <pc226:cmChg xmlns:pc226="http://schemas.microsoft.com/office/powerpoint/2022/06/main/command" chg="del mod">
              <pc226:chgData name="Jacob, Karen (SPAC/PSPC) (elle-la / she-her)" userId="66e9cce0-e37b-4645-a907-f7690bd68dfb" providerId="ADAL" clId="{A3599A74-B049-44EE-8670-DE420CF3148A}" dt="2024-10-30T19:18:03.379" v="19443"/>
              <pc2:cmMkLst xmlns:pc2="http://schemas.microsoft.com/office/powerpoint/2019/9/main/command">
                <pc:docMk/>
                <pc:sldMk cId="3499923032" sldId="5146"/>
                <pc2:cmMk id="{98484DB0-A815-436A-903F-8EA5EEB72975}"/>
              </pc2:cmMkLst>
            </pc226:cmChg>
          </p:ext>
        </pc:extLst>
      </pc:sldChg>
      <pc:sldChg chg="addSp modSp mod delCm modCm modNotesTx">
        <pc:chgData name="Jacob, Karen (SPAC/PSPC) (elle-la / she-her)" userId="66e9cce0-e37b-4645-a907-f7690bd68dfb" providerId="ADAL" clId="{A3599A74-B049-44EE-8670-DE420CF3148A}" dt="2024-10-30T19:32:44.445" v="19816" actId="20577"/>
        <pc:sldMkLst>
          <pc:docMk/>
          <pc:sldMk cId="2509489348" sldId="5153"/>
        </pc:sldMkLst>
        <pc:spChg chg="mod">
          <ac:chgData name="Jacob, Karen (SPAC/PSPC) (elle-la / she-her)" userId="66e9cce0-e37b-4645-a907-f7690bd68dfb" providerId="ADAL" clId="{A3599A74-B049-44EE-8670-DE420CF3148A}" dt="2024-10-23T18:24:45.291" v="8142" actId="20577"/>
          <ac:spMkLst>
            <pc:docMk/>
            <pc:sldMk cId="2509489348" sldId="5153"/>
            <ac:spMk id="3" creationId="{41BE6B50-88EB-D2A5-67D3-AD36A9027E26}"/>
          </ac:spMkLst>
        </pc:spChg>
        <pc:spChg chg="mod">
          <ac:chgData name="Jacob, Karen (SPAC/PSPC) (elle-la / she-her)" userId="66e9cce0-e37b-4645-a907-f7690bd68dfb" providerId="ADAL" clId="{A3599A74-B049-44EE-8670-DE420CF3148A}" dt="2024-10-30T19:32:30.866" v="19810" actId="20577"/>
          <ac:spMkLst>
            <pc:docMk/>
            <pc:sldMk cId="2509489348" sldId="5153"/>
            <ac:spMk id="5" creationId="{D0DACE9A-1229-9EEE-A180-51B071D4E977}"/>
          </ac:spMkLst>
        </pc:spChg>
        <pc:spChg chg="add mod">
          <ac:chgData name="Jacob, Karen (SPAC/PSPC) (elle-la / she-her)" userId="66e9cce0-e37b-4645-a907-f7690bd68dfb" providerId="ADAL" clId="{A3599A74-B049-44EE-8670-DE420CF3148A}" dt="2024-10-23T20:20:49.437" v="18351" actId="20577"/>
          <ac:spMkLst>
            <pc:docMk/>
            <pc:sldMk cId="2509489348" sldId="5153"/>
            <ac:spMk id="6" creationId="{55B9010B-A8A7-9B6F-B5B4-3FFDE75A9E2A}"/>
          </ac:spMkLst>
        </pc:sp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23T20:19:03.724" v="18295"/>
              <pc2:cmMkLst xmlns:pc2="http://schemas.microsoft.com/office/powerpoint/2019/9/main/command">
                <pc:docMk/>
                <pc:sldMk cId="2509489348" sldId="5153"/>
                <pc2:cmMk id="{A0C5752E-331E-4656-AD78-076BBF0C204F}"/>
              </pc2:cmMkLst>
            </pc226:cmChg>
            <pc226:cmChg xmlns:pc226="http://schemas.microsoft.com/office/powerpoint/2022/06/main/command" chg="del mod">
              <pc226:chgData name="Jacob, Karen (SPAC/PSPC) (elle-la / she-her)" userId="66e9cce0-e37b-4645-a907-f7690bd68dfb" providerId="ADAL" clId="{A3599A74-B049-44EE-8670-DE420CF3148A}" dt="2024-10-30T19:32:15.995" v="19779"/>
              <pc2:cmMkLst xmlns:pc2="http://schemas.microsoft.com/office/powerpoint/2019/9/main/command">
                <pc:docMk/>
                <pc:sldMk cId="2509489348" sldId="5153"/>
                <pc2:cmMk id="{A04B6C77-3AD8-4C27-BA6B-9D16BA7C9FC3}"/>
              </pc2:cmMkLst>
            </pc226:cmChg>
            <pc226:cmChg xmlns:pc226="http://schemas.microsoft.com/office/powerpoint/2022/06/main/command" chg="del mod">
              <pc226:chgData name="Jacob, Karen (SPAC/PSPC) (elle-la / she-her)" userId="66e9cce0-e37b-4645-a907-f7690bd68dfb" providerId="ADAL" clId="{A3599A74-B049-44EE-8670-DE420CF3148A}" dt="2024-10-30T19:32:37.118" v="19811"/>
              <pc2:cmMkLst xmlns:pc2="http://schemas.microsoft.com/office/powerpoint/2019/9/main/command">
                <pc:docMk/>
                <pc:sldMk cId="2509489348" sldId="5153"/>
                <pc2:cmMk id="{04DBD37E-CAF2-41DB-9F84-6FDC3BC5F9AB}"/>
              </pc2:cmMkLst>
            </pc226:cmChg>
          </p:ext>
        </pc:extLst>
      </pc:sldChg>
      <pc:sldChg chg="addSp delSp modSp mod ord delCm modCm">
        <pc:chgData name="Jacob, Karen (SPAC/PSPC) (elle-la / she-her)" userId="66e9cce0-e37b-4645-a907-f7690bd68dfb" providerId="ADAL" clId="{A3599A74-B049-44EE-8670-DE420CF3148A}" dt="2024-10-30T19:36:01.823" v="20009"/>
        <pc:sldMkLst>
          <pc:docMk/>
          <pc:sldMk cId="1022071146" sldId="5154"/>
        </pc:sldMkLst>
        <pc:spChg chg="mod">
          <ac:chgData name="Jacob, Karen (SPAC/PSPC) (elle-la / she-her)" userId="66e9cce0-e37b-4645-a907-f7690bd68dfb" providerId="ADAL" clId="{A3599A74-B049-44EE-8670-DE420CF3148A}" dt="2024-10-30T19:35:53.943" v="20008" actId="20577"/>
          <ac:spMkLst>
            <pc:docMk/>
            <pc:sldMk cId="1022071146" sldId="5154"/>
            <ac:spMk id="3" creationId="{7A78167E-F052-C9E8-04C8-15DFB9851FEC}"/>
          </ac:spMkLst>
        </pc:spChg>
        <pc:spChg chg="del mod">
          <ac:chgData name="Jacob, Karen (SPAC/PSPC) (elle-la / she-her)" userId="66e9cce0-e37b-4645-a907-f7690bd68dfb" providerId="ADAL" clId="{A3599A74-B049-44EE-8670-DE420CF3148A}" dt="2024-10-18T15:13:08.133" v="5614" actId="478"/>
          <ac:spMkLst>
            <pc:docMk/>
            <pc:sldMk cId="1022071146" sldId="5154"/>
            <ac:spMk id="9" creationId="{C28A70ED-E72C-D55F-3ED8-357508D798AA}"/>
          </ac:spMkLst>
        </pc:spChg>
        <pc:spChg chg="del mod">
          <ac:chgData name="Jacob, Karen (SPAC/PSPC) (elle-la / she-her)" userId="66e9cce0-e37b-4645-a907-f7690bd68dfb" providerId="ADAL" clId="{A3599A74-B049-44EE-8670-DE420CF3148A}" dt="2024-10-18T15:12:27.899" v="5600" actId="478"/>
          <ac:spMkLst>
            <pc:docMk/>
            <pc:sldMk cId="1022071146" sldId="5154"/>
            <ac:spMk id="11" creationId="{15DC1763-3F26-C01B-E5B4-F3AAD22FEC9B}"/>
          </ac:spMkLst>
        </pc:spChg>
        <pc:spChg chg="del mod">
          <ac:chgData name="Jacob, Karen (SPAC/PSPC) (elle-la / she-her)" userId="66e9cce0-e37b-4645-a907-f7690bd68dfb" providerId="ADAL" clId="{A3599A74-B049-44EE-8670-DE420CF3148A}" dt="2024-10-18T15:12:39.996" v="5602" actId="478"/>
          <ac:spMkLst>
            <pc:docMk/>
            <pc:sldMk cId="1022071146" sldId="5154"/>
            <ac:spMk id="13" creationId="{BC2615B4-03B1-DA0D-607A-97E540A78303}"/>
          </ac:spMkLst>
        </pc:spChg>
        <pc:spChg chg="del mod">
          <ac:chgData name="Jacob, Karen (SPAC/PSPC) (elle-la / she-her)" userId="66e9cce0-e37b-4645-a907-f7690bd68dfb" providerId="ADAL" clId="{A3599A74-B049-44EE-8670-DE420CF3148A}" dt="2024-10-18T15:12:37.512" v="5601" actId="478"/>
          <ac:spMkLst>
            <pc:docMk/>
            <pc:sldMk cId="1022071146" sldId="5154"/>
            <ac:spMk id="15" creationId="{435A8557-46F3-8E61-B1B5-F9625DCD5821}"/>
          </ac:spMkLst>
        </pc:spChg>
        <pc:spChg chg="mod">
          <ac:chgData name="Jacob, Karen (SPAC/PSPC) (elle-la / she-her)" userId="66e9cce0-e37b-4645-a907-f7690bd68dfb" providerId="ADAL" clId="{A3599A74-B049-44EE-8670-DE420CF3148A}" dt="2024-10-23T18:25:34.851" v="8145" actId="20577"/>
          <ac:spMkLst>
            <pc:docMk/>
            <pc:sldMk cId="1022071146" sldId="5154"/>
            <ac:spMk id="16" creationId="{9FC768E5-1F64-2B56-E0C1-44C03EE92B56}"/>
          </ac:spMkLst>
        </pc:spChg>
        <pc:spChg chg="mod">
          <ac:chgData name="Jacob, Karen (SPAC/PSPC) (elle-la / she-her)" userId="66e9cce0-e37b-4645-a907-f7690bd68dfb" providerId="ADAL" clId="{A3599A74-B049-44EE-8670-DE420CF3148A}" dt="2024-10-18T15:12:05.311" v="5544"/>
          <ac:spMkLst>
            <pc:docMk/>
            <pc:sldMk cId="1022071146" sldId="5154"/>
            <ac:spMk id="18" creationId="{70058B1D-0A8A-760D-BED4-2BB0341C1D65}"/>
          </ac:spMkLst>
        </pc:spChg>
        <pc:spChg chg="mod">
          <ac:chgData name="Jacob, Karen (SPAC/PSPC) (elle-la / she-her)" userId="66e9cce0-e37b-4645-a907-f7690bd68dfb" providerId="ADAL" clId="{A3599A74-B049-44EE-8670-DE420CF3148A}" dt="2024-10-18T15:12:05.311" v="5544"/>
          <ac:spMkLst>
            <pc:docMk/>
            <pc:sldMk cId="1022071146" sldId="5154"/>
            <ac:spMk id="20" creationId="{9ACC593A-9919-1799-8ABB-A64A666F9F26}"/>
          </ac:spMkLst>
        </pc:spChg>
        <pc:spChg chg="mod">
          <ac:chgData name="Jacob, Karen (SPAC/PSPC) (elle-la / she-her)" userId="66e9cce0-e37b-4645-a907-f7690bd68dfb" providerId="ADAL" clId="{A3599A74-B049-44EE-8670-DE420CF3148A}" dt="2024-10-18T15:12:05.311" v="5544"/>
          <ac:spMkLst>
            <pc:docMk/>
            <pc:sldMk cId="1022071146" sldId="5154"/>
            <ac:spMk id="21" creationId="{E3C94D93-CA24-69BA-42B5-5D6F6FBA9C87}"/>
          </ac:spMkLst>
        </pc:spChg>
        <pc:spChg chg="mod">
          <ac:chgData name="Jacob, Karen (SPAC/PSPC) (elle-la / she-her)" userId="66e9cce0-e37b-4645-a907-f7690bd68dfb" providerId="ADAL" clId="{A3599A74-B049-44EE-8670-DE420CF3148A}" dt="2024-10-18T15:12:05.311" v="5544"/>
          <ac:spMkLst>
            <pc:docMk/>
            <pc:sldMk cId="1022071146" sldId="5154"/>
            <ac:spMk id="23" creationId="{4C6A7B9E-69AE-501D-1378-FDD8B8D94959}"/>
          </ac:spMkLst>
        </pc:spChg>
        <pc:spChg chg="mod">
          <ac:chgData name="Jacob, Karen (SPAC/PSPC) (elle-la / she-her)" userId="66e9cce0-e37b-4645-a907-f7690bd68dfb" providerId="ADAL" clId="{A3599A74-B049-44EE-8670-DE420CF3148A}" dt="2024-10-18T15:12:05.311" v="5544"/>
          <ac:spMkLst>
            <pc:docMk/>
            <pc:sldMk cId="1022071146" sldId="5154"/>
            <ac:spMk id="24" creationId="{EA992CF0-F97D-F076-9A7A-DB43E7EF8384}"/>
          </ac:spMkLst>
        </pc:spChg>
        <pc:spChg chg="mod">
          <ac:chgData name="Jacob, Karen (SPAC/PSPC) (elle-la / she-her)" userId="66e9cce0-e37b-4645-a907-f7690bd68dfb" providerId="ADAL" clId="{A3599A74-B049-44EE-8670-DE420CF3148A}" dt="2024-10-18T15:12:05.311" v="5544"/>
          <ac:spMkLst>
            <pc:docMk/>
            <pc:sldMk cId="1022071146" sldId="5154"/>
            <ac:spMk id="25" creationId="{5079FE47-599C-A134-BD23-C4276CD45296}"/>
          </ac:spMkLst>
        </pc:spChg>
        <pc:spChg chg="mod">
          <ac:chgData name="Jacob, Karen (SPAC/PSPC) (elle-la / she-her)" userId="66e9cce0-e37b-4645-a907-f7690bd68dfb" providerId="ADAL" clId="{A3599A74-B049-44EE-8670-DE420CF3148A}" dt="2024-10-18T15:12:05.311" v="5544"/>
          <ac:spMkLst>
            <pc:docMk/>
            <pc:sldMk cId="1022071146" sldId="5154"/>
            <ac:spMk id="26" creationId="{2D8DBA23-B5AA-7C7E-5352-85936063FD93}"/>
          </ac:spMkLst>
        </pc:spChg>
        <pc:spChg chg="mod">
          <ac:chgData name="Jacob, Karen (SPAC/PSPC) (elle-la / she-her)" userId="66e9cce0-e37b-4645-a907-f7690bd68dfb" providerId="ADAL" clId="{A3599A74-B049-44EE-8670-DE420CF3148A}" dt="2024-10-18T15:12:05.311" v="5544"/>
          <ac:spMkLst>
            <pc:docMk/>
            <pc:sldMk cId="1022071146" sldId="5154"/>
            <ac:spMk id="27" creationId="{3E44F633-6A18-C683-ECF0-C9ADF10A6E19}"/>
          </ac:spMkLst>
        </pc:spChg>
        <pc:spChg chg="mod">
          <ac:chgData name="Jacob, Karen (SPAC/PSPC) (elle-la / she-her)" userId="66e9cce0-e37b-4645-a907-f7690bd68dfb" providerId="ADAL" clId="{A3599A74-B049-44EE-8670-DE420CF3148A}" dt="2024-10-18T15:12:05.311" v="5544"/>
          <ac:spMkLst>
            <pc:docMk/>
            <pc:sldMk cId="1022071146" sldId="5154"/>
            <ac:spMk id="28" creationId="{121E2F39-5F17-5BE0-0611-09179169AC61}"/>
          </ac:spMkLst>
        </pc:spChg>
        <pc:spChg chg="mod">
          <ac:chgData name="Jacob, Karen (SPAC/PSPC) (elle-la / she-her)" userId="66e9cce0-e37b-4645-a907-f7690bd68dfb" providerId="ADAL" clId="{A3599A74-B049-44EE-8670-DE420CF3148A}" dt="2024-10-18T15:12:05.311" v="5544"/>
          <ac:spMkLst>
            <pc:docMk/>
            <pc:sldMk cId="1022071146" sldId="5154"/>
            <ac:spMk id="29" creationId="{12C3754B-981F-6B16-F1BE-8BB0D99D64AF}"/>
          </ac:spMkLst>
        </pc:spChg>
        <pc:spChg chg="mod">
          <ac:chgData name="Jacob, Karen (SPAC/PSPC) (elle-la / she-her)" userId="66e9cce0-e37b-4645-a907-f7690bd68dfb" providerId="ADAL" clId="{A3599A74-B049-44EE-8670-DE420CF3148A}" dt="2024-10-18T15:12:05.311" v="5544"/>
          <ac:spMkLst>
            <pc:docMk/>
            <pc:sldMk cId="1022071146" sldId="5154"/>
            <ac:spMk id="30" creationId="{A771D895-B308-1CD3-1977-394DE6E698B4}"/>
          </ac:spMkLst>
        </pc:spChg>
        <pc:spChg chg="mod">
          <ac:chgData name="Jacob, Karen (SPAC/PSPC) (elle-la / she-her)" userId="66e9cce0-e37b-4645-a907-f7690bd68dfb" providerId="ADAL" clId="{A3599A74-B049-44EE-8670-DE420CF3148A}" dt="2024-10-18T15:12:05.311" v="5544"/>
          <ac:spMkLst>
            <pc:docMk/>
            <pc:sldMk cId="1022071146" sldId="5154"/>
            <ac:spMk id="31" creationId="{FF523CDD-A188-0AF8-9753-BA8B4EDA9277}"/>
          </ac:spMkLst>
        </pc:spChg>
        <pc:spChg chg="mod">
          <ac:chgData name="Jacob, Karen (SPAC/PSPC) (elle-la / she-her)" userId="66e9cce0-e37b-4645-a907-f7690bd68dfb" providerId="ADAL" clId="{A3599A74-B049-44EE-8670-DE420CF3148A}" dt="2024-10-18T15:12:05.311" v="5544"/>
          <ac:spMkLst>
            <pc:docMk/>
            <pc:sldMk cId="1022071146" sldId="5154"/>
            <ac:spMk id="32" creationId="{EFA1AC29-92D2-20E7-13DC-4F7BBD377B89}"/>
          </ac:spMkLst>
        </pc:spChg>
        <pc:spChg chg="mod">
          <ac:chgData name="Jacob, Karen (SPAC/PSPC) (elle-la / she-her)" userId="66e9cce0-e37b-4645-a907-f7690bd68dfb" providerId="ADAL" clId="{A3599A74-B049-44EE-8670-DE420CF3148A}" dt="2024-10-18T15:12:05.311" v="5544"/>
          <ac:spMkLst>
            <pc:docMk/>
            <pc:sldMk cId="1022071146" sldId="5154"/>
            <ac:spMk id="33" creationId="{17708D04-DFD1-3AA8-5438-2ABED82E0784}"/>
          </ac:spMkLst>
        </pc:spChg>
        <pc:spChg chg="mod">
          <ac:chgData name="Jacob, Karen (SPAC/PSPC) (elle-la / she-her)" userId="66e9cce0-e37b-4645-a907-f7690bd68dfb" providerId="ADAL" clId="{A3599A74-B049-44EE-8670-DE420CF3148A}" dt="2024-10-18T15:12:05.311" v="5544"/>
          <ac:spMkLst>
            <pc:docMk/>
            <pc:sldMk cId="1022071146" sldId="5154"/>
            <ac:spMk id="34" creationId="{5D52573B-7A52-96DF-FE8D-BDAF691182CA}"/>
          </ac:spMkLst>
        </pc:spChg>
        <pc:spChg chg="mod">
          <ac:chgData name="Jacob, Karen (SPAC/PSPC) (elle-la / she-her)" userId="66e9cce0-e37b-4645-a907-f7690bd68dfb" providerId="ADAL" clId="{A3599A74-B049-44EE-8670-DE420CF3148A}" dt="2024-10-18T15:12:05.311" v="5544"/>
          <ac:spMkLst>
            <pc:docMk/>
            <pc:sldMk cId="1022071146" sldId="5154"/>
            <ac:spMk id="35" creationId="{CF0739C7-09B9-EB4C-D223-070BF1267B17}"/>
          </ac:spMkLst>
        </pc:spChg>
        <pc:spChg chg="mod">
          <ac:chgData name="Jacob, Karen (SPAC/PSPC) (elle-la / she-her)" userId="66e9cce0-e37b-4645-a907-f7690bd68dfb" providerId="ADAL" clId="{A3599A74-B049-44EE-8670-DE420CF3148A}" dt="2024-10-18T15:12:05.311" v="5544"/>
          <ac:spMkLst>
            <pc:docMk/>
            <pc:sldMk cId="1022071146" sldId="5154"/>
            <ac:spMk id="36" creationId="{1EBFC678-0DB9-A4EB-AF0F-2895CB3F2C1E}"/>
          </ac:spMkLst>
        </pc:spChg>
        <pc:spChg chg="mod">
          <ac:chgData name="Jacob, Karen (SPAC/PSPC) (elle-la / she-her)" userId="66e9cce0-e37b-4645-a907-f7690bd68dfb" providerId="ADAL" clId="{A3599A74-B049-44EE-8670-DE420CF3148A}" dt="2024-10-18T15:12:05.311" v="5544"/>
          <ac:spMkLst>
            <pc:docMk/>
            <pc:sldMk cId="1022071146" sldId="5154"/>
            <ac:spMk id="37" creationId="{7E3B3FA9-E209-8C5B-B9BF-1CBC00206948}"/>
          </ac:spMkLst>
        </pc:spChg>
        <pc:spChg chg="mod">
          <ac:chgData name="Jacob, Karen (SPAC/PSPC) (elle-la / she-her)" userId="66e9cce0-e37b-4645-a907-f7690bd68dfb" providerId="ADAL" clId="{A3599A74-B049-44EE-8670-DE420CF3148A}" dt="2024-10-18T15:12:05.311" v="5544"/>
          <ac:spMkLst>
            <pc:docMk/>
            <pc:sldMk cId="1022071146" sldId="5154"/>
            <ac:spMk id="38" creationId="{B6507E11-EC29-4E46-39AD-4BB6E38FB301}"/>
          </ac:spMkLst>
        </pc:spChg>
        <pc:spChg chg="mod">
          <ac:chgData name="Jacob, Karen (SPAC/PSPC) (elle-la / she-her)" userId="66e9cce0-e37b-4645-a907-f7690bd68dfb" providerId="ADAL" clId="{A3599A74-B049-44EE-8670-DE420CF3148A}" dt="2024-10-18T15:12:05.311" v="5544"/>
          <ac:spMkLst>
            <pc:docMk/>
            <pc:sldMk cId="1022071146" sldId="5154"/>
            <ac:spMk id="39" creationId="{C7469CDD-D524-16E5-551D-01955F32196C}"/>
          </ac:spMkLst>
        </pc:spChg>
        <pc:spChg chg="mod">
          <ac:chgData name="Jacob, Karen (SPAC/PSPC) (elle-la / she-her)" userId="66e9cce0-e37b-4645-a907-f7690bd68dfb" providerId="ADAL" clId="{A3599A74-B049-44EE-8670-DE420CF3148A}" dt="2024-10-18T15:12:05.311" v="5544"/>
          <ac:spMkLst>
            <pc:docMk/>
            <pc:sldMk cId="1022071146" sldId="5154"/>
            <ac:spMk id="40" creationId="{F7C5741F-5578-1AF1-4851-0A486B3F686F}"/>
          </ac:spMkLst>
        </pc:spChg>
        <pc:spChg chg="mod">
          <ac:chgData name="Jacob, Karen (SPAC/PSPC) (elle-la / she-her)" userId="66e9cce0-e37b-4645-a907-f7690bd68dfb" providerId="ADAL" clId="{A3599A74-B049-44EE-8670-DE420CF3148A}" dt="2024-10-18T15:12:05.311" v="5544"/>
          <ac:spMkLst>
            <pc:docMk/>
            <pc:sldMk cId="1022071146" sldId="5154"/>
            <ac:spMk id="41" creationId="{CC7386CC-0505-DBCC-AF06-AFA69ED717C9}"/>
          </ac:spMkLst>
        </pc:spChg>
        <pc:spChg chg="mod">
          <ac:chgData name="Jacob, Karen (SPAC/PSPC) (elle-la / she-her)" userId="66e9cce0-e37b-4645-a907-f7690bd68dfb" providerId="ADAL" clId="{A3599A74-B049-44EE-8670-DE420CF3148A}" dt="2024-10-18T15:12:05.311" v="5544"/>
          <ac:spMkLst>
            <pc:docMk/>
            <pc:sldMk cId="1022071146" sldId="5154"/>
            <ac:spMk id="42" creationId="{BE4A57EE-E044-A301-EF2C-BED0F57FA70A}"/>
          </ac:spMkLst>
        </pc:spChg>
        <pc:spChg chg="mod">
          <ac:chgData name="Jacob, Karen (SPAC/PSPC) (elle-la / she-her)" userId="66e9cce0-e37b-4645-a907-f7690bd68dfb" providerId="ADAL" clId="{A3599A74-B049-44EE-8670-DE420CF3148A}" dt="2024-10-18T15:12:05.311" v="5544"/>
          <ac:spMkLst>
            <pc:docMk/>
            <pc:sldMk cId="1022071146" sldId="5154"/>
            <ac:spMk id="43" creationId="{3F3E4707-9FC5-99ED-5D71-20C2D5994A81}"/>
          </ac:spMkLst>
        </pc:spChg>
        <pc:spChg chg="mod">
          <ac:chgData name="Jacob, Karen (SPAC/PSPC) (elle-la / she-her)" userId="66e9cce0-e37b-4645-a907-f7690bd68dfb" providerId="ADAL" clId="{A3599A74-B049-44EE-8670-DE420CF3148A}" dt="2024-10-18T15:12:05.311" v="5544"/>
          <ac:spMkLst>
            <pc:docMk/>
            <pc:sldMk cId="1022071146" sldId="5154"/>
            <ac:spMk id="44" creationId="{9A8EA917-3A44-7139-87AD-F9EC0728A680}"/>
          </ac:spMkLst>
        </pc:spChg>
        <pc:spChg chg="mod">
          <ac:chgData name="Jacob, Karen (SPAC/PSPC) (elle-la / she-her)" userId="66e9cce0-e37b-4645-a907-f7690bd68dfb" providerId="ADAL" clId="{A3599A74-B049-44EE-8670-DE420CF3148A}" dt="2024-10-18T15:12:05.311" v="5544"/>
          <ac:spMkLst>
            <pc:docMk/>
            <pc:sldMk cId="1022071146" sldId="5154"/>
            <ac:spMk id="45" creationId="{FFC0B55C-39BF-5CAE-ED00-CF1AAB1A0E5C}"/>
          </ac:spMkLst>
        </pc:spChg>
        <pc:spChg chg="mod">
          <ac:chgData name="Jacob, Karen (SPAC/PSPC) (elle-la / she-her)" userId="66e9cce0-e37b-4645-a907-f7690bd68dfb" providerId="ADAL" clId="{A3599A74-B049-44EE-8670-DE420CF3148A}" dt="2024-10-18T15:12:05.311" v="5544"/>
          <ac:spMkLst>
            <pc:docMk/>
            <pc:sldMk cId="1022071146" sldId="5154"/>
            <ac:spMk id="46" creationId="{5DD1DF85-5880-3DBC-D19F-84A8C181A8D1}"/>
          </ac:spMkLst>
        </pc:spChg>
        <pc:spChg chg="mod">
          <ac:chgData name="Jacob, Karen (SPAC/PSPC) (elle-la / she-her)" userId="66e9cce0-e37b-4645-a907-f7690bd68dfb" providerId="ADAL" clId="{A3599A74-B049-44EE-8670-DE420CF3148A}" dt="2024-10-18T15:12:05.311" v="5544"/>
          <ac:spMkLst>
            <pc:docMk/>
            <pc:sldMk cId="1022071146" sldId="5154"/>
            <ac:spMk id="47" creationId="{88299F6F-8805-751B-ADEE-BF0CD75A6124}"/>
          </ac:spMkLst>
        </pc:spChg>
        <pc:spChg chg="mod">
          <ac:chgData name="Jacob, Karen (SPAC/PSPC) (elle-la / she-her)" userId="66e9cce0-e37b-4645-a907-f7690bd68dfb" providerId="ADAL" clId="{A3599A74-B049-44EE-8670-DE420CF3148A}" dt="2024-10-18T15:12:05.311" v="5544"/>
          <ac:spMkLst>
            <pc:docMk/>
            <pc:sldMk cId="1022071146" sldId="5154"/>
            <ac:spMk id="48" creationId="{CF64522E-403A-03F8-6A2C-40ED44B5E3A5}"/>
          </ac:spMkLst>
        </pc:spChg>
        <pc:spChg chg="mod">
          <ac:chgData name="Jacob, Karen (SPAC/PSPC) (elle-la / she-her)" userId="66e9cce0-e37b-4645-a907-f7690bd68dfb" providerId="ADAL" clId="{A3599A74-B049-44EE-8670-DE420CF3148A}" dt="2024-10-18T15:12:05.311" v="5544"/>
          <ac:spMkLst>
            <pc:docMk/>
            <pc:sldMk cId="1022071146" sldId="5154"/>
            <ac:spMk id="49" creationId="{91069B41-4C43-24DB-A809-E7DFB1ED4D14}"/>
          </ac:spMkLst>
        </pc:spChg>
        <pc:spChg chg="mod">
          <ac:chgData name="Jacob, Karen (SPAC/PSPC) (elle-la / she-her)" userId="66e9cce0-e37b-4645-a907-f7690bd68dfb" providerId="ADAL" clId="{A3599A74-B049-44EE-8670-DE420CF3148A}" dt="2024-10-18T15:12:05.311" v="5544"/>
          <ac:spMkLst>
            <pc:docMk/>
            <pc:sldMk cId="1022071146" sldId="5154"/>
            <ac:spMk id="50" creationId="{8B8149E1-0BA5-501B-D6DA-82553AFC8016}"/>
          </ac:spMkLst>
        </pc:spChg>
        <pc:spChg chg="mod">
          <ac:chgData name="Jacob, Karen (SPAC/PSPC) (elle-la / she-her)" userId="66e9cce0-e37b-4645-a907-f7690bd68dfb" providerId="ADAL" clId="{A3599A74-B049-44EE-8670-DE420CF3148A}" dt="2024-10-18T15:12:05.311" v="5544"/>
          <ac:spMkLst>
            <pc:docMk/>
            <pc:sldMk cId="1022071146" sldId="5154"/>
            <ac:spMk id="51" creationId="{2C429B3A-B535-189D-44AB-C000227A8D66}"/>
          </ac:spMkLst>
        </pc:spChg>
        <pc:spChg chg="mod">
          <ac:chgData name="Jacob, Karen (SPAC/PSPC) (elle-la / she-her)" userId="66e9cce0-e37b-4645-a907-f7690bd68dfb" providerId="ADAL" clId="{A3599A74-B049-44EE-8670-DE420CF3148A}" dt="2024-10-18T15:12:05.311" v="5544"/>
          <ac:spMkLst>
            <pc:docMk/>
            <pc:sldMk cId="1022071146" sldId="5154"/>
            <ac:spMk id="52" creationId="{03EAD489-B340-22F1-3DE1-27FC20B4E430}"/>
          </ac:spMkLst>
        </pc:spChg>
        <pc:spChg chg="mod">
          <ac:chgData name="Jacob, Karen (SPAC/PSPC) (elle-la / she-her)" userId="66e9cce0-e37b-4645-a907-f7690bd68dfb" providerId="ADAL" clId="{A3599A74-B049-44EE-8670-DE420CF3148A}" dt="2024-10-18T15:12:05.311" v="5544"/>
          <ac:spMkLst>
            <pc:docMk/>
            <pc:sldMk cId="1022071146" sldId="5154"/>
            <ac:spMk id="53" creationId="{BC7BDEC7-21A8-687C-5FF8-DE2D5E7D5C21}"/>
          </ac:spMkLst>
        </pc:spChg>
        <pc:spChg chg="mod">
          <ac:chgData name="Jacob, Karen (SPAC/PSPC) (elle-la / she-her)" userId="66e9cce0-e37b-4645-a907-f7690bd68dfb" providerId="ADAL" clId="{A3599A74-B049-44EE-8670-DE420CF3148A}" dt="2024-10-18T15:12:05.311" v="5544"/>
          <ac:spMkLst>
            <pc:docMk/>
            <pc:sldMk cId="1022071146" sldId="5154"/>
            <ac:spMk id="54" creationId="{E5A8D4AB-7BB9-2ADB-170D-5AE12AE11CB3}"/>
          </ac:spMkLst>
        </pc:spChg>
        <pc:spChg chg="mod">
          <ac:chgData name="Jacob, Karen (SPAC/PSPC) (elle-la / she-her)" userId="66e9cce0-e37b-4645-a907-f7690bd68dfb" providerId="ADAL" clId="{A3599A74-B049-44EE-8670-DE420CF3148A}" dt="2024-10-18T15:12:05.311" v="5544"/>
          <ac:spMkLst>
            <pc:docMk/>
            <pc:sldMk cId="1022071146" sldId="5154"/>
            <ac:spMk id="55" creationId="{DC8FA3CD-28D1-49A1-BC5D-FFAD3A62B81B}"/>
          </ac:spMkLst>
        </pc:spChg>
        <pc:spChg chg="mod">
          <ac:chgData name="Jacob, Karen (SPAC/PSPC) (elle-la / she-her)" userId="66e9cce0-e37b-4645-a907-f7690bd68dfb" providerId="ADAL" clId="{A3599A74-B049-44EE-8670-DE420CF3148A}" dt="2024-10-18T15:12:05.311" v="5544"/>
          <ac:spMkLst>
            <pc:docMk/>
            <pc:sldMk cId="1022071146" sldId="5154"/>
            <ac:spMk id="56" creationId="{9F4FB8C1-A356-D30E-93D3-683F071FCBE9}"/>
          </ac:spMkLst>
        </pc:spChg>
        <pc:spChg chg="mod">
          <ac:chgData name="Jacob, Karen (SPAC/PSPC) (elle-la / she-her)" userId="66e9cce0-e37b-4645-a907-f7690bd68dfb" providerId="ADAL" clId="{A3599A74-B049-44EE-8670-DE420CF3148A}" dt="2024-10-18T15:12:05.311" v="5544"/>
          <ac:spMkLst>
            <pc:docMk/>
            <pc:sldMk cId="1022071146" sldId="5154"/>
            <ac:spMk id="57" creationId="{C59489DA-E253-C358-8ABF-D485D1356380}"/>
          </ac:spMkLst>
        </pc:spChg>
        <pc:spChg chg="mod">
          <ac:chgData name="Jacob, Karen (SPAC/PSPC) (elle-la / she-her)" userId="66e9cce0-e37b-4645-a907-f7690bd68dfb" providerId="ADAL" clId="{A3599A74-B049-44EE-8670-DE420CF3148A}" dt="2024-10-18T15:12:05.311" v="5544"/>
          <ac:spMkLst>
            <pc:docMk/>
            <pc:sldMk cId="1022071146" sldId="5154"/>
            <ac:spMk id="58" creationId="{4BE8A6E3-909C-1ED0-D24B-1794F09C4ECC}"/>
          </ac:spMkLst>
        </pc:spChg>
        <pc:spChg chg="mod">
          <ac:chgData name="Jacob, Karen (SPAC/PSPC) (elle-la / she-her)" userId="66e9cce0-e37b-4645-a907-f7690bd68dfb" providerId="ADAL" clId="{A3599A74-B049-44EE-8670-DE420CF3148A}" dt="2024-10-18T15:12:05.311" v="5544"/>
          <ac:spMkLst>
            <pc:docMk/>
            <pc:sldMk cId="1022071146" sldId="5154"/>
            <ac:spMk id="59" creationId="{160101F8-D1B5-7A9F-DDE2-14BD9EBC1567}"/>
          </ac:spMkLst>
        </pc:spChg>
        <pc:spChg chg="mod">
          <ac:chgData name="Jacob, Karen (SPAC/PSPC) (elle-la / she-her)" userId="66e9cce0-e37b-4645-a907-f7690bd68dfb" providerId="ADAL" clId="{A3599A74-B049-44EE-8670-DE420CF3148A}" dt="2024-10-18T15:12:05.311" v="5544"/>
          <ac:spMkLst>
            <pc:docMk/>
            <pc:sldMk cId="1022071146" sldId="5154"/>
            <ac:spMk id="60" creationId="{A4C07864-39AF-05FD-0931-D0AB139277AE}"/>
          </ac:spMkLst>
        </pc:spChg>
        <pc:spChg chg="mod">
          <ac:chgData name="Jacob, Karen (SPAC/PSPC) (elle-la / she-her)" userId="66e9cce0-e37b-4645-a907-f7690bd68dfb" providerId="ADAL" clId="{A3599A74-B049-44EE-8670-DE420CF3148A}" dt="2024-10-18T15:12:05.311" v="5544"/>
          <ac:spMkLst>
            <pc:docMk/>
            <pc:sldMk cId="1022071146" sldId="5154"/>
            <ac:spMk id="61" creationId="{30BF5EA7-5212-3614-E451-F9F88930001B}"/>
          </ac:spMkLst>
        </pc:spChg>
        <pc:spChg chg="mod">
          <ac:chgData name="Jacob, Karen (SPAC/PSPC) (elle-la / she-her)" userId="66e9cce0-e37b-4645-a907-f7690bd68dfb" providerId="ADAL" clId="{A3599A74-B049-44EE-8670-DE420CF3148A}" dt="2024-10-18T15:12:05.311" v="5544"/>
          <ac:spMkLst>
            <pc:docMk/>
            <pc:sldMk cId="1022071146" sldId="5154"/>
            <ac:spMk id="62" creationId="{5A4AC6CC-0A70-0090-5EE6-5194EA0EF4BE}"/>
          </ac:spMkLst>
        </pc:spChg>
        <pc:spChg chg="mod">
          <ac:chgData name="Jacob, Karen (SPAC/PSPC) (elle-la / she-her)" userId="66e9cce0-e37b-4645-a907-f7690bd68dfb" providerId="ADAL" clId="{A3599A74-B049-44EE-8670-DE420CF3148A}" dt="2024-10-18T15:12:05.311" v="5544"/>
          <ac:spMkLst>
            <pc:docMk/>
            <pc:sldMk cId="1022071146" sldId="5154"/>
            <ac:spMk id="63" creationId="{9EF6C6AC-EACC-775A-A522-D3F0B539A731}"/>
          </ac:spMkLst>
        </pc:spChg>
        <pc:spChg chg="mod">
          <ac:chgData name="Jacob, Karen (SPAC/PSPC) (elle-la / she-her)" userId="66e9cce0-e37b-4645-a907-f7690bd68dfb" providerId="ADAL" clId="{A3599A74-B049-44EE-8670-DE420CF3148A}" dt="2024-10-18T15:12:05.311" v="5544"/>
          <ac:spMkLst>
            <pc:docMk/>
            <pc:sldMk cId="1022071146" sldId="5154"/>
            <ac:spMk id="64" creationId="{753D1356-E641-08F0-A7BF-D43488B0F670}"/>
          </ac:spMkLst>
        </pc:spChg>
        <pc:spChg chg="mod">
          <ac:chgData name="Jacob, Karen (SPAC/PSPC) (elle-la / she-her)" userId="66e9cce0-e37b-4645-a907-f7690bd68dfb" providerId="ADAL" clId="{A3599A74-B049-44EE-8670-DE420CF3148A}" dt="2024-10-18T15:12:05.311" v="5544"/>
          <ac:spMkLst>
            <pc:docMk/>
            <pc:sldMk cId="1022071146" sldId="5154"/>
            <ac:spMk id="65" creationId="{FC5202A0-3821-48D2-A1FE-93D546BB1D4C}"/>
          </ac:spMkLst>
        </pc:spChg>
        <pc:spChg chg="del mod">
          <ac:chgData name="Jacob, Karen (SPAC/PSPC) (elle-la / she-her)" userId="66e9cce0-e37b-4645-a907-f7690bd68dfb" providerId="ADAL" clId="{A3599A74-B049-44EE-8670-DE420CF3148A}" dt="2024-10-18T15:13:12.940" v="5616" actId="478"/>
          <ac:spMkLst>
            <pc:docMk/>
            <pc:sldMk cId="1022071146" sldId="5154"/>
            <ac:spMk id="67" creationId="{75E41646-B4F7-C399-46BE-7EEC318F086F}"/>
          </ac:spMkLst>
        </pc:spChg>
        <pc:spChg chg="del mod">
          <ac:chgData name="Jacob, Karen (SPAC/PSPC) (elle-la / she-her)" userId="66e9cce0-e37b-4645-a907-f7690bd68dfb" providerId="ADAL" clId="{A3599A74-B049-44EE-8670-DE420CF3148A}" dt="2024-10-18T15:12:52.723" v="5609" actId="478"/>
          <ac:spMkLst>
            <pc:docMk/>
            <pc:sldMk cId="1022071146" sldId="5154"/>
            <ac:spMk id="68" creationId="{78105B75-EBA8-377E-E6B0-C32A3487E048}"/>
          </ac:spMkLst>
        </pc:spChg>
        <pc:spChg chg="del mod">
          <ac:chgData name="Jacob, Karen (SPAC/PSPC) (elle-la / she-her)" userId="66e9cce0-e37b-4645-a907-f7690bd68dfb" providerId="ADAL" clId="{A3599A74-B049-44EE-8670-DE420CF3148A}" dt="2024-10-18T15:12:50.258" v="5608" actId="478"/>
          <ac:spMkLst>
            <pc:docMk/>
            <pc:sldMk cId="1022071146" sldId="5154"/>
            <ac:spMk id="69" creationId="{00D0A6DB-F521-3EF0-0116-797FD609C70F}"/>
          </ac:spMkLst>
        </pc:spChg>
        <pc:spChg chg="del mod">
          <ac:chgData name="Jacob, Karen (SPAC/PSPC) (elle-la / she-her)" userId="66e9cce0-e37b-4645-a907-f7690bd68dfb" providerId="ADAL" clId="{A3599A74-B049-44EE-8670-DE420CF3148A}" dt="2024-10-18T15:12:48.369" v="5607" actId="478"/>
          <ac:spMkLst>
            <pc:docMk/>
            <pc:sldMk cId="1022071146" sldId="5154"/>
            <ac:spMk id="70" creationId="{44292BE3-E343-155A-BBA8-3D2F2EDBBD09}"/>
          </ac:spMkLst>
        </pc:spChg>
        <pc:spChg chg="del mod">
          <ac:chgData name="Jacob, Karen (SPAC/PSPC) (elle-la / she-her)" userId="66e9cce0-e37b-4645-a907-f7690bd68dfb" providerId="ADAL" clId="{A3599A74-B049-44EE-8670-DE420CF3148A}" dt="2024-10-18T15:12:41.780" v="5603" actId="478"/>
          <ac:spMkLst>
            <pc:docMk/>
            <pc:sldMk cId="1022071146" sldId="5154"/>
            <ac:spMk id="71" creationId="{DCE0A065-EB02-B569-14CF-7BBC3E5A733D}"/>
          </ac:spMkLst>
        </pc:spChg>
        <pc:spChg chg="del mod">
          <ac:chgData name="Jacob, Karen (SPAC/PSPC) (elle-la / she-her)" userId="66e9cce0-e37b-4645-a907-f7690bd68dfb" providerId="ADAL" clId="{A3599A74-B049-44EE-8670-DE420CF3148A}" dt="2024-10-18T15:12:57.528" v="5611" actId="478"/>
          <ac:spMkLst>
            <pc:docMk/>
            <pc:sldMk cId="1022071146" sldId="5154"/>
            <ac:spMk id="72" creationId="{7E3C4F5F-CC68-BC23-1B1F-5AAFB12D993F}"/>
          </ac:spMkLst>
        </pc:spChg>
        <pc:spChg chg="del mod">
          <ac:chgData name="Jacob, Karen (SPAC/PSPC) (elle-la / she-her)" userId="66e9cce0-e37b-4645-a907-f7690bd68dfb" providerId="ADAL" clId="{A3599A74-B049-44EE-8670-DE420CF3148A}" dt="2024-10-18T15:13:30.853" v="5619" actId="478"/>
          <ac:spMkLst>
            <pc:docMk/>
            <pc:sldMk cId="1022071146" sldId="5154"/>
            <ac:spMk id="74" creationId="{7A723C08-B430-F89F-891B-16F547E1A41D}"/>
          </ac:spMkLst>
        </pc:spChg>
        <pc:spChg chg="del mod">
          <ac:chgData name="Jacob, Karen (SPAC/PSPC) (elle-la / she-her)" userId="66e9cce0-e37b-4645-a907-f7690bd68dfb" providerId="ADAL" clId="{A3599A74-B049-44EE-8670-DE420CF3148A}" dt="2024-10-18T15:13:10.468" v="5615" actId="478"/>
          <ac:spMkLst>
            <pc:docMk/>
            <pc:sldMk cId="1022071146" sldId="5154"/>
            <ac:spMk id="75" creationId="{EA14F068-13B3-B4BE-D892-A83CA5D09395}"/>
          </ac:spMkLst>
        </pc:spChg>
        <pc:spChg chg="del mod">
          <ac:chgData name="Jacob, Karen (SPAC/PSPC) (elle-la / she-her)" userId="66e9cce0-e37b-4645-a907-f7690bd68dfb" providerId="ADAL" clId="{A3599A74-B049-44EE-8670-DE420CF3148A}" dt="2024-10-18T15:16:21.943" v="5803" actId="478"/>
          <ac:spMkLst>
            <pc:docMk/>
            <pc:sldMk cId="1022071146" sldId="5154"/>
            <ac:spMk id="76" creationId="{023EBBE9-6AF2-3941-D435-6543074A435C}"/>
          </ac:spMkLst>
        </pc:spChg>
        <pc:spChg chg="mod">
          <ac:chgData name="Jacob, Karen (SPAC/PSPC) (elle-la / she-her)" userId="66e9cce0-e37b-4645-a907-f7690bd68dfb" providerId="ADAL" clId="{A3599A74-B049-44EE-8670-DE420CF3148A}" dt="2024-10-18T15:12:05.311" v="5544"/>
          <ac:spMkLst>
            <pc:docMk/>
            <pc:sldMk cId="1022071146" sldId="5154"/>
            <ac:spMk id="78" creationId="{057E7B1D-D7C7-9460-3484-E41EF154A9B2}"/>
          </ac:spMkLst>
        </pc:spChg>
        <pc:spChg chg="mod">
          <ac:chgData name="Jacob, Karen (SPAC/PSPC) (elle-la / she-her)" userId="66e9cce0-e37b-4645-a907-f7690bd68dfb" providerId="ADAL" clId="{A3599A74-B049-44EE-8670-DE420CF3148A}" dt="2024-10-18T15:12:05.311" v="5544"/>
          <ac:spMkLst>
            <pc:docMk/>
            <pc:sldMk cId="1022071146" sldId="5154"/>
            <ac:spMk id="79" creationId="{8FCD9700-1C2E-305F-C2D7-D1F22165A204}"/>
          </ac:spMkLst>
        </pc:spChg>
        <pc:spChg chg="mod">
          <ac:chgData name="Jacob, Karen (SPAC/PSPC) (elle-la / she-her)" userId="66e9cce0-e37b-4645-a907-f7690bd68dfb" providerId="ADAL" clId="{A3599A74-B049-44EE-8670-DE420CF3148A}" dt="2024-10-18T15:12:05.311" v="5544"/>
          <ac:spMkLst>
            <pc:docMk/>
            <pc:sldMk cId="1022071146" sldId="5154"/>
            <ac:spMk id="80" creationId="{AA9F00D5-1806-DACE-5D3E-92DD37C22826}"/>
          </ac:spMkLst>
        </pc:spChg>
        <pc:spChg chg="mod">
          <ac:chgData name="Jacob, Karen (SPAC/PSPC) (elle-la / she-her)" userId="66e9cce0-e37b-4645-a907-f7690bd68dfb" providerId="ADAL" clId="{A3599A74-B049-44EE-8670-DE420CF3148A}" dt="2024-10-18T15:12:05.311" v="5544"/>
          <ac:spMkLst>
            <pc:docMk/>
            <pc:sldMk cId="1022071146" sldId="5154"/>
            <ac:spMk id="81" creationId="{91B53DBD-4316-9F02-791B-A39F96719240}"/>
          </ac:spMkLst>
        </pc:spChg>
        <pc:spChg chg="mod">
          <ac:chgData name="Jacob, Karen (SPAC/PSPC) (elle-la / she-her)" userId="66e9cce0-e37b-4645-a907-f7690bd68dfb" providerId="ADAL" clId="{A3599A74-B049-44EE-8670-DE420CF3148A}" dt="2024-10-18T15:12:05.311" v="5544"/>
          <ac:spMkLst>
            <pc:docMk/>
            <pc:sldMk cId="1022071146" sldId="5154"/>
            <ac:spMk id="82" creationId="{6667D5C5-60C1-EF39-A34A-68A894525C14}"/>
          </ac:spMkLst>
        </pc:spChg>
        <pc:spChg chg="mod">
          <ac:chgData name="Jacob, Karen (SPAC/PSPC) (elle-la / she-her)" userId="66e9cce0-e37b-4645-a907-f7690bd68dfb" providerId="ADAL" clId="{A3599A74-B049-44EE-8670-DE420CF3148A}" dt="2024-10-18T15:12:05.311" v="5544"/>
          <ac:spMkLst>
            <pc:docMk/>
            <pc:sldMk cId="1022071146" sldId="5154"/>
            <ac:spMk id="83" creationId="{BD636ECB-7C44-CBB6-D835-F5EEC0FDB5E7}"/>
          </ac:spMkLst>
        </pc:spChg>
        <pc:spChg chg="mod">
          <ac:chgData name="Jacob, Karen (SPAC/PSPC) (elle-la / she-her)" userId="66e9cce0-e37b-4645-a907-f7690bd68dfb" providerId="ADAL" clId="{A3599A74-B049-44EE-8670-DE420CF3148A}" dt="2024-10-18T15:17:24.077" v="5847" actId="20577"/>
          <ac:spMkLst>
            <pc:docMk/>
            <pc:sldMk cId="1022071146" sldId="5154"/>
            <ac:spMk id="84" creationId="{2B0328CC-C16A-56CA-D000-EA18226D76E5}"/>
          </ac:spMkLst>
        </pc:spChg>
        <pc:spChg chg="mod">
          <ac:chgData name="Jacob, Karen (SPAC/PSPC) (elle-la / she-her)" userId="66e9cce0-e37b-4645-a907-f7690bd68dfb" providerId="ADAL" clId="{A3599A74-B049-44EE-8670-DE420CF3148A}" dt="2024-10-18T15:17:27.896" v="5849" actId="20577"/>
          <ac:spMkLst>
            <pc:docMk/>
            <pc:sldMk cId="1022071146" sldId="5154"/>
            <ac:spMk id="85" creationId="{5BF43345-89A2-8BD1-AAB5-685CC2838D7D}"/>
          </ac:spMkLst>
        </pc:spChg>
        <pc:spChg chg="mod">
          <ac:chgData name="Jacob, Karen (SPAC/PSPC) (elle-la / she-her)" userId="66e9cce0-e37b-4645-a907-f7690bd68dfb" providerId="ADAL" clId="{A3599A74-B049-44EE-8670-DE420CF3148A}" dt="2024-10-18T15:14:08.305" v="5644" actId="1076"/>
          <ac:spMkLst>
            <pc:docMk/>
            <pc:sldMk cId="1022071146" sldId="5154"/>
            <ac:spMk id="86" creationId="{36F3A7BC-2D1A-741B-822A-079CEF79C39F}"/>
          </ac:spMkLst>
        </pc:spChg>
        <pc:spChg chg="mod">
          <ac:chgData name="Jacob, Karen (SPAC/PSPC) (elle-la / she-her)" userId="66e9cce0-e37b-4645-a907-f7690bd68dfb" providerId="ADAL" clId="{A3599A74-B049-44EE-8670-DE420CF3148A}" dt="2024-10-18T15:17:31.695" v="5856" actId="20577"/>
          <ac:spMkLst>
            <pc:docMk/>
            <pc:sldMk cId="1022071146" sldId="5154"/>
            <ac:spMk id="87" creationId="{A98FC754-5F9D-A6AB-8070-6E366FA59DE0}"/>
          </ac:spMkLst>
        </pc:spChg>
        <pc:spChg chg="mod">
          <ac:chgData name="Jacob, Karen (SPAC/PSPC) (elle-la / she-her)" userId="66e9cce0-e37b-4645-a907-f7690bd68dfb" providerId="ADAL" clId="{A3599A74-B049-44EE-8670-DE420CF3148A}" dt="2024-10-18T15:17:34.973" v="5858" actId="20577"/>
          <ac:spMkLst>
            <pc:docMk/>
            <pc:sldMk cId="1022071146" sldId="5154"/>
            <ac:spMk id="88" creationId="{A6684F48-A2FE-496D-6BD2-6AF0B6FF503C}"/>
          </ac:spMkLst>
        </pc:spChg>
        <pc:spChg chg="mod">
          <ac:chgData name="Jacob, Karen (SPAC/PSPC) (elle-la / she-her)" userId="66e9cce0-e37b-4645-a907-f7690bd68dfb" providerId="ADAL" clId="{A3599A74-B049-44EE-8670-DE420CF3148A}" dt="2024-10-18T15:17:03.567" v="5816" actId="1036"/>
          <ac:spMkLst>
            <pc:docMk/>
            <pc:sldMk cId="1022071146" sldId="5154"/>
            <ac:spMk id="89" creationId="{CF1A0002-EC31-0B3E-FF8A-584706C6E1CD}"/>
          </ac:spMkLst>
        </pc:spChg>
        <pc:spChg chg="del mod">
          <ac:chgData name="Jacob, Karen (SPAC/PSPC) (elle-la / she-her)" userId="66e9cce0-e37b-4645-a907-f7690bd68dfb" providerId="ADAL" clId="{A3599A74-B049-44EE-8670-DE420CF3148A}" dt="2024-10-18T15:16:17.087" v="5802" actId="478"/>
          <ac:spMkLst>
            <pc:docMk/>
            <pc:sldMk cId="1022071146" sldId="5154"/>
            <ac:spMk id="90" creationId="{0AC2C530-5C63-88FA-D6BD-2EFCE3D447A0}"/>
          </ac:spMkLst>
        </pc:spChg>
        <pc:spChg chg="add del mod">
          <ac:chgData name="Jacob, Karen (SPAC/PSPC) (elle-la / she-her)" userId="66e9cce0-e37b-4645-a907-f7690bd68dfb" providerId="ADAL" clId="{A3599A74-B049-44EE-8670-DE420CF3148A}" dt="2024-10-18T15:21:46.934" v="6401"/>
          <ac:spMkLst>
            <pc:docMk/>
            <pc:sldMk cId="1022071146" sldId="5154"/>
            <ac:spMk id="91" creationId="{0975DA56-3AD2-5C76-2A21-E9325DB5C995}"/>
          </ac:spMkLst>
        </pc:spChg>
        <pc:grpChg chg="add del mod">
          <ac:chgData name="Jacob, Karen (SPAC/PSPC) (elle-la / she-her)" userId="66e9cce0-e37b-4645-a907-f7690bd68dfb" providerId="ADAL" clId="{A3599A74-B049-44EE-8670-DE420CF3148A}" dt="2024-10-18T15:13:35.717" v="5620" actId="1076"/>
          <ac:grpSpMkLst>
            <pc:docMk/>
            <pc:sldMk cId="1022071146" sldId="5154"/>
            <ac:grpSpMk id="6" creationId="{416113E3-E9F4-0DEB-3045-FDE7ADC4CA45}"/>
          </ac:grpSpMkLst>
        </pc:grpChg>
        <pc:grpChg chg="del mod">
          <ac:chgData name="Jacob, Karen (SPAC/PSPC) (elle-la / she-her)" userId="66e9cce0-e37b-4645-a907-f7690bd68dfb" providerId="ADAL" clId="{A3599A74-B049-44EE-8670-DE420CF3148A}" dt="2024-10-18T15:16:21.943" v="5803" actId="478"/>
          <ac:grpSpMkLst>
            <pc:docMk/>
            <pc:sldMk cId="1022071146" sldId="5154"/>
            <ac:grpSpMk id="7" creationId="{F7285AD3-3E93-8D96-54B7-DD5F0E39D056}"/>
          </ac:grpSpMkLst>
        </pc:grpChg>
        <pc:grpChg chg="del mod">
          <ac:chgData name="Jacob, Karen (SPAC/PSPC) (elle-la / she-her)" userId="66e9cce0-e37b-4645-a907-f7690bd68dfb" providerId="ADAL" clId="{A3599A74-B049-44EE-8670-DE420CF3148A}" dt="2024-10-18T15:13:12.940" v="5616" actId="478"/>
          <ac:grpSpMkLst>
            <pc:docMk/>
            <pc:sldMk cId="1022071146" sldId="5154"/>
            <ac:grpSpMk id="8" creationId="{4162FF0D-3ACE-570F-2D94-1EECD9993F48}"/>
          </ac:grpSpMkLst>
        </pc:grpChg>
        <pc:grpChg chg="mod">
          <ac:chgData name="Jacob, Karen (SPAC/PSPC) (elle-la / she-her)" userId="66e9cce0-e37b-4645-a907-f7690bd68dfb" providerId="ADAL" clId="{A3599A74-B049-44EE-8670-DE420CF3148A}" dt="2024-10-18T15:12:05.311" v="5544"/>
          <ac:grpSpMkLst>
            <pc:docMk/>
            <pc:sldMk cId="1022071146" sldId="5154"/>
            <ac:grpSpMk id="10" creationId="{79080D31-DF36-CE33-848A-51E4A0F01CF4}"/>
          </ac:grpSpMkLst>
        </pc:grpChg>
        <pc:grpChg chg="mod">
          <ac:chgData name="Jacob, Karen (SPAC/PSPC) (elle-la / she-her)" userId="66e9cce0-e37b-4645-a907-f7690bd68dfb" providerId="ADAL" clId="{A3599A74-B049-44EE-8670-DE420CF3148A}" dt="2024-10-18T15:12:05.311" v="5544"/>
          <ac:grpSpMkLst>
            <pc:docMk/>
            <pc:sldMk cId="1022071146" sldId="5154"/>
            <ac:grpSpMk id="17" creationId="{50A9A730-E35F-EC06-84BD-411425130433}"/>
          </ac:grpSpMkLst>
        </pc:grpChg>
        <pc:grpChg chg="mod">
          <ac:chgData name="Jacob, Karen (SPAC/PSPC) (elle-la / she-her)" userId="66e9cce0-e37b-4645-a907-f7690bd68dfb" providerId="ADAL" clId="{A3599A74-B049-44EE-8670-DE420CF3148A}" dt="2024-10-18T15:12:05.311" v="5544"/>
          <ac:grpSpMkLst>
            <pc:docMk/>
            <pc:sldMk cId="1022071146" sldId="5154"/>
            <ac:grpSpMk id="19" creationId="{43713B3D-D1AA-EA68-2BA8-6F6E9711A69A}"/>
          </ac:grpSpMkLst>
        </pc:grpChg>
        <pc:grpChg chg="mod">
          <ac:chgData name="Jacob, Karen (SPAC/PSPC) (elle-la / she-her)" userId="66e9cce0-e37b-4645-a907-f7690bd68dfb" providerId="ADAL" clId="{A3599A74-B049-44EE-8670-DE420CF3148A}" dt="2024-10-18T15:12:05.311" v="5544"/>
          <ac:grpSpMkLst>
            <pc:docMk/>
            <pc:sldMk cId="1022071146" sldId="5154"/>
            <ac:grpSpMk id="22" creationId="{0AB390BF-7008-068F-6AE5-832A8CF4B9AE}"/>
          </ac:grpSpMkLst>
        </pc:grpChg>
        <pc:grpChg chg="del mod">
          <ac:chgData name="Jacob, Karen (SPAC/PSPC) (elle-la / she-her)" userId="66e9cce0-e37b-4645-a907-f7690bd68dfb" providerId="ADAL" clId="{A3599A74-B049-44EE-8670-DE420CF3148A}" dt="2024-10-18T15:13:10.468" v="5615" actId="478"/>
          <ac:grpSpMkLst>
            <pc:docMk/>
            <pc:sldMk cId="1022071146" sldId="5154"/>
            <ac:grpSpMk id="66" creationId="{64477B98-3E53-C48D-7EB9-80EFC7CFDCD4}"/>
          </ac:grpSpMkLst>
        </pc:grpChg>
        <pc:grpChg chg="mod">
          <ac:chgData name="Jacob, Karen (SPAC/PSPC) (elle-la / she-her)" userId="66e9cce0-e37b-4645-a907-f7690bd68dfb" providerId="ADAL" clId="{A3599A74-B049-44EE-8670-DE420CF3148A}" dt="2024-10-18T15:12:05.311" v="5544"/>
          <ac:grpSpMkLst>
            <pc:docMk/>
            <pc:sldMk cId="1022071146" sldId="5154"/>
            <ac:grpSpMk id="77" creationId="{CE4A8AA8-D80C-1133-5FA3-51E8E7EA7F99}"/>
          </ac:grpSpMkLst>
        </pc:grpChg>
        <pc:picChg chg="del mod">
          <ac:chgData name="Jacob, Karen (SPAC/PSPC) (elle-la / she-her)" userId="66e9cce0-e37b-4645-a907-f7690bd68dfb" providerId="ADAL" clId="{A3599A74-B049-44EE-8670-DE420CF3148A}" dt="2024-10-18T15:12:43.807" v="5604" actId="478"/>
          <ac:picMkLst>
            <pc:docMk/>
            <pc:sldMk cId="1022071146" sldId="5154"/>
            <ac:picMk id="14" creationId="{0742920C-1ADD-D143-65EA-FD3B919C0CA2}"/>
          </ac:picMkLst>
        </pc:picChg>
        <pc:picChg chg="del mod">
          <ac:chgData name="Jacob, Karen (SPAC/PSPC) (elle-la / she-her)" userId="66e9cce0-e37b-4645-a907-f7690bd68dfb" providerId="ADAL" clId="{A3599A74-B049-44EE-8670-DE420CF3148A}" dt="2024-10-18T15:12:55.550" v="5610" actId="478"/>
          <ac:picMkLst>
            <pc:docMk/>
            <pc:sldMk cId="1022071146" sldId="5154"/>
            <ac:picMk id="73" creationId="{06167044-0F7F-62D0-6F8C-04B73830943C}"/>
          </ac:picMkLst>
        </pc:picChg>
        <pc:cxnChg chg="del mod">
          <ac:chgData name="Jacob, Karen (SPAC/PSPC) (elle-la / she-her)" userId="66e9cce0-e37b-4645-a907-f7690bd68dfb" providerId="ADAL" clId="{A3599A74-B049-44EE-8670-DE420CF3148A}" dt="2024-10-18T15:12:23.428" v="5599" actId="478"/>
          <ac:cxnSpMkLst>
            <pc:docMk/>
            <pc:sldMk cId="1022071146" sldId="5154"/>
            <ac:cxnSpMk id="12" creationId="{9D01A66A-77F6-E090-2916-1610842D54C6}"/>
          </ac:cxnSpMkLst>
        </pc:cxn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36:01.823" v="20009"/>
              <pc2:cmMkLst xmlns:pc2="http://schemas.microsoft.com/office/powerpoint/2019/9/main/command">
                <pc:docMk/>
                <pc:sldMk cId="1022071146" sldId="5154"/>
                <pc2:cmMk id="{90626A41-4D1B-4755-A8E7-7F76F967625F}"/>
              </pc2:cmMkLst>
            </pc226:cmChg>
          </p:ext>
        </pc:extLst>
      </pc:sldChg>
      <pc:sldChg chg="del">
        <pc:chgData name="Jacob, Karen (SPAC/PSPC) (elle-la / she-her)" userId="66e9cce0-e37b-4645-a907-f7690bd68dfb" providerId="ADAL" clId="{A3599A74-B049-44EE-8670-DE420CF3148A}" dt="2024-10-17T13:43:39.697" v="27" actId="47"/>
        <pc:sldMkLst>
          <pc:docMk/>
          <pc:sldMk cId="1375870424" sldId="5155"/>
        </pc:sldMkLst>
      </pc:sldChg>
      <pc:sldChg chg="addSp delSp modSp mod addCm delCm modNotesTx">
        <pc:chgData name="Jacob, Karen (SPAC/PSPC) (elle-la / she-her)" userId="66e9cce0-e37b-4645-a907-f7690bd68dfb" providerId="ADAL" clId="{A3599A74-B049-44EE-8670-DE420CF3148A}" dt="2024-10-30T19:40:26.344" v="20478"/>
        <pc:sldMkLst>
          <pc:docMk/>
          <pc:sldMk cId="127833343" sldId="5156"/>
        </pc:sldMkLst>
        <pc:spChg chg="mod">
          <ac:chgData name="Jacob, Karen (SPAC/PSPC) (elle-la / she-her)" userId="66e9cce0-e37b-4645-a907-f7690bd68dfb" providerId="ADAL" clId="{A3599A74-B049-44EE-8670-DE420CF3148A}" dt="2024-10-18T17:56:24.551" v="7164" actId="207"/>
          <ac:spMkLst>
            <pc:docMk/>
            <pc:sldMk cId="127833343" sldId="5156"/>
            <ac:spMk id="2" creationId="{0DA1C67A-4FAB-556C-5C8D-241597F9DA1B}"/>
          </ac:spMkLst>
        </pc:spChg>
        <pc:spChg chg="mod">
          <ac:chgData name="Jacob, Karen (SPAC/PSPC) (elle-la / she-her)" userId="66e9cce0-e37b-4645-a907-f7690bd68dfb" providerId="ADAL" clId="{A3599A74-B049-44EE-8670-DE420CF3148A}" dt="2024-10-18T18:24:29.934" v="7888" actId="14100"/>
          <ac:spMkLst>
            <pc:docMk/>
            <pc:sldMk cId="127833343" sldId="5156"/>
            <ac:spMk id="4" creationId="{6E84A27E-2844-316E-6672-1236545BDBDC}"/>
          </ac:spMkLst>
        </pc:spChg>
        <pc:spChg chg="add del mod">
          <ac:chgData name="Jacob, Karen (SPAC/PSPC) (elle-la / she-her)" userId="66e9cce0-e37b-4645-a907-f7690bd68dfb" providerId="ADAL" clId="{A3599A74-B049-44EE-8670-DE420CF3148A}" dt="2024-10-18T15:58:48.386" v="6928" actId="478"/>
          <ac:spMkLst>
            <pc:docMk/>
            <pc:sldMk cId="127833343" sldId="5156"/>
            <ac:spMk id="7" creationId="{3741CF14-E7A0-FBDC-1A8D-B16BC1AF931F}"/>
          </ac:spMkLst>
        </pc:spChg>
        <pc:spChg chg="add del mod">
          <ac:chgData name="Jacob, Karen (SPAC/PSPC) (elle-la / she-her)" userId="66e9cce0-e37b-4645-a907-f7690bd68dfb" providerId="ADAL" clId="{A3599A74-B049-44EE-8670-DE420CF3148A}" dt="2024-10-18T17:40:09.631" v="6942" actId="478"/>
          <ac:spMkLst>
            <pc:docMk/>
            <pc:sldMk cId="127833343" sldId="5156"/>
            <ac:spMk id="8" creationId="{BF689CB3-B330-5F94-241A-760ABF6C779E}"/>
          </ac:spMkLst>
        </pc:spChg>
        <pc:spChg chg="add del mod">
          <ac:chgData name="Jacob, Karen (SPAC/PSPC) (elle-la / she-her)" userId="66e9cce0-e37b-4645-a907-f7690bd68dfb" providerId="ADAL" clId="{A3599A74-B049-44EE-8670-DE420CF3148A}" dt="2024-10-18T17:40:07.392" v="6941" actId="478"/>
          <ac:spMkLst>
            <pc:docMk/>
            <pc:sldMk cId="127833343" sldId="5156"/>
            <ac:spMk id="9" creationId="{BAFAA34A-4F43-F7E4-C450-256F6920894C}"/>
          </ac:spMkLst>
        </pc:spChg>
        <pc:spChg chg="add del mod">
          <ac:chgData name="Jacob, Karen (SPAC/PSPC) (elle-la / she-her)" userId="66e9cce0-e37b-4645-a907-f7690bd68dfb" providerId="ADAL" clId="{A3599A74-B049-44EE-8670-DE420CF3148A}" dt="2024-10-18T17:55:24.908" v="7143" actId="478"/>
          <ac:spMkLst>
            <pc:docMk/>
            <pc:sldMk cId="127833343" sldId="5156"/>
            <ac:spMk id="10" creationId="{BC975473-32CB-D6C8-6090-429EBA6F8A61}"/>
          </ac:spMkLst>
        </pc:spChg>
        <pc:spChg chg="add del mod">
          <ac:chgData name="Jacob, Karen (SPAC/PSPC) (elle-la / she-her)" userId="66e9cce0-e37b-4645-a907-f7690bd68dfb" providerId="ADAL" clId="{A3599A74-B049-44EE-8670-DE420CF3148A}" dt="2024-10-18T17:40:12.297" v="6944" actId="478"/>
          <ac:spMkLst>
            <pc:docMk/>
            <pc:sldMk cId="127833343" sldId="5156"/>
            <ac:spMk id="11" creationId="{805D18F7-B395-00E2-EA41-FCEC75D19D5F}"/>
          </ac:spMkLst>
        </pc:spChg>
        <pc:spChg chg="del mod">
          <ac:chgData name="Jacob, Karen (SPAC/PSPC) (elle-la / she-her)" userId="66e9cce0-e37b-4645-a907-f7690bd68dfb" providerId="ADAL" clId="{A3599A74-B049-44EE-8670-DE420CF3148A}" dt="2024-10-18T17:55:22.946" v="7142" actId="478"/>
          <ac:spMkLst>
            <pc:docMk/>
            <pc:sldMk cId="127833343" sldId="5156"/>
            <ac:spMk id="12" creationId="{49BC1508-1F65-AA39-033E-D60F15B261D2}"/>
          </ac:spMkLst>
        </pc:spChg>
        <pc:spChg chg="add del mod">
          <ac:chgData name="Jacob, Karen (SPAC/PSPC) (elle-la / she-her)" userId="66e9cce0-e37b-4645-a907-f7690bd68dfb" providerId="ADAL" clId="{A3599A74-B049-44EE-8670-DE420CF3148A}" dt="2024-10-18T17:40:14.908" v="6945" actId="478"/>
          <ac:spMkLst>
            <pc:docMk/>
            <pc:sldMk cId="127833343" sldId="5156"/>
            <ac:spMk id="13" creationId="{33202935-8F35-766C-F87E-5ACEFAA71156}"/>
          </ac:spMkLst>
        </pc:spChg>
        <pc:spChg chg="add del mod">
          <ac:chgData name="Jacob, Karen (SPAC/PSPC) (elle-la / she-her)" userId="66e9cce0-e37b-4645-a907-f7690bd68dfb" providerId="ADAL" clId="{A3599A74-B049-44EE-8670-DE420CF3148A}" dt="2024-10-18T17:39:52.036" v="6938" actId="478"/>
          <ac:spMkLst>
            <pc:docMk/>
            <pc:sldMk cId="127833343" sldId="5156"/>
            <ac:spMk id="14" creationId="{417FD432-0884-18D5-37C4-CC68BCD2CB35}"/>
          </ac:spMkLst>
        </pc:spChg>
        <pc:graphicFrameChg chg="add mod modGraphic">
          <ac:chgData name="Jacob, Karen (SPAC/PSPC) (elle-la / she-her)" userId="66e9cce0-e37b-4645-a907-f7690bd68dfb" providerId="ADAL" clId="{A3599A74-B049-44EE-8670-DE420CF3148A}" dt="2024-10-23T19:44:26.752" v="14460" actId="20577"/>
          <ac:graphicFrameMkLst>
            <pc:docMk/>
            <pc:sldMk cId="127833343" sldId="5156"/>
            <ac:graphicFrameMk id="17" creationId="{C41D58B7-6B00-125B-22E9-8018C129AE87}"/>
          </ac:graphicFrameMkLst>
        </pc:graphicFrameChg>
        <pc:picChg chg="add del mod">
          <ac:chgData name="Jacob, Karen (SPAC/PSPC) (elle-la / she-her)" userId="66e9cce0-e37b-4645-a907-f7690bd68dfb" providerId="ADAL" clId="{A3599A74-B049-44EE-8670-DE420CF3148A}" dt="2024-10-18T15:56:08.602" v="6841" actId="478"/>
          <ac:picMkLst>
            <pc:docMk/>
            <pc:sldMk cId="127833343" sldId="5156"/>
            <ac:picMk id="6" creationId="{2F1221D1-7927-82D2-29BE-DD5A19175FAD}"/>
          </ac:picMkLst>
        </pc:picChg>
        <pc:picChg chg="add del mod">
          <ac:chgData name="Jacob, Karen (SPAC/PSPC) (elle-la / she-her)" userId="66e9cce0-e37b-4645-a907-f7690bd68dfb" providerId="ADAL" clId="{A3599A74-B049-44EE-8670-DE420CF3148A}" dt="2024-10-18T17:52:42.804" v="7011" actId="478"/>
          <ac:picMkLst>
            <pc:docMk/>
            <pc:sldMk cId="127833343" sldId="5156"/>
            <ac:picMk id="19" creationId="{A019BD4C-C9A2-7532-CAED-31A84DAD60B8}"/>
          </ac:picMkLst>
        </pc:picChg>
        <pc:picChg chg="add del mod">
          <ac:chgData name="Jacob, Karen (SPAC/PSPC) (elle-la / she-her)" userId="66e9cce0-e37b-4645-a907-f7690bd68dfb" providerId="ADAL" clId="{A3599A74-B049-44EE-8670-DE420CF3148A}" dt="2024-10-18T17:52:45.455" v="7013" actId="478"/>
          <ac:picMkLst>
            <pc:docMk/>
            <pc:sldMk cId="127833343" sldId="5156"/>
            <ac:picMk id="21" creationId="{F03377BD-84F7-2D42-7A50-7A68B2C44AFA}"/>
          </ac:picMkLst>
        </pc:picChg>
        <pc:picChg chg="add del mod">
          <ac:chgData name="Jacob, Karen (SPAC/PSPC) (elle-la / she-her)" userId="66e9cce0-e37b-4645-a907-f7690bd68dfb" providerId="ADAL" clId="{A3599A74-B049-44EE-8670-DE420CF3148A}" dt="2024-10-18T17:52:44.659" v="7012" actId="478"/>
          <ac:picMkLst>
            <pc:docMk/>
            <pc:sldMk cId="127833343" sldId="5156"/>
            <ac:picMk id="23" creationId="{CC460BF3-C815-E13B-2F5E-9473AE9F2F61}"/>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30T19:39:50.559" v="20471"/>
              <pc2:cmMkLst xmlns:pc2="http://schemas.microsoft.com/office/powerpoint/2019/9/main/command">
                <pc:docMk/>
                <pc:sldMk cId="127833343" sldId="5156"/>
                <pc2:cmMk id="{F606A351-743E-4B21-AEA4-28542AF9593B}"/>
              </pc2:cmMkLst>
            </pc226:cmChg>
            <pc226:cmChg xmlns:pc226="http://schemas.microsoft.com/office/powerpoint/2022/06/main/command" chg="add del">
              <pc226:chgData name="Jacob, Karen (SPAC/PSPC) (elle-la / she-her)" userId="66e9cce0-e37b-4645-a907-f7690bd68dfb" providerId="ADAL" clId="{A3599A74-B049-44EE-8670-DE420CF3148A}" dt="2024-10-30T19:40:26.344" v="20478"/>
              <pc2:cmMkLst xmlns:pc2="http://schemas.microsoft.com/office/powerpoint/2019/9/main/command">
                <pc:docMk/>
                <pc:sldMk cId="127833343" sldId="5156"/>
                <pc2:cmMk id="{D92B9589-F440-4DF9-AD5F-E3365BD34DC1}"/>
              </pc2:cmMkLst>
            </pc226:cmChg>
            <pc226:cmChg xmlns:pc226="http://schemas.microsoft.com/office/powerpoint/2022/06/main/command" chg="del">
              <pc226:chgData name="Jacob, Karen (SPAC/PSPC) (elle-la / she-her)" userId="66e9cce0-e37b-4645-a907-f7690bd68dfb" providerId="ADAL" clId="{A3599A74-B049-44EE-8670-DE420CF3148A}" dt="2024-10-30T19:39:54.113" v="20473"/>
              <pc2:cmMkLst xmlns:pc2="http://schemas.microsoft.com/office/powerpoint/2019/9/main/command">
                <pc:docMk/>
                <pc:sldMk cId="127833343" sldId="5156"/>
                <pc2:cmMk id="{D3231298-DF8E-44CE-8420-26FC556B1B52}"/>
              </pc2:cmMkLst>
            </pc226:cmChg>
            <pc226:cmChg xmlns:pc226="http://schemas.microsoft.com/office/powerpoint/2022/06/main/command" chg="del">
              <pc226:chgData name="Jacob, Karen (SPAC/PSPC) (elle-la / she-her)" userId="66e9cce0-e37b-4645-a907-f7690bd68dfb" providerId="ADAL" clId="{A3599A74-B049-44EE-8670-DE420CF3148A}" dt="2024-10-30T19:39:52.403" v="20472"/>
              <pc2:cmMkLst xmlns:pc2="http://schemas.microsoft.com/office/powerpoint/2019/9/main/command">
                <pc:docMk/>
                <pc:sldMk cId="127833343" sldId="5156"/>
                <pc2:cmMk id="{136D97A2-F13C-4833-83D9-7FAD2EF41064}"/>
              </pc2:cmMkLst>
            </pc226:cmChg>
            <pc226:cmChg xmlns:pc226="http://schemas.microsoft.com/office/powerpoint/2022/06/main/command" chg="del">
              <pc226:chgData name="Jacob, Karen (SPAC/PSPC) (elle-la / she-her)" userId="66e9cce0-e37b-4645-a907-f7690bd68dfb" providerId="ADAL" clId="{A3599A74-B049-44EE-8670-DE420CF3148A}" dt="2024-10-30T19:39:48.656" v="20470"/>
              <pc2:cmMkLst xmlns:pc2="http://schemas.microsoft.com/office/powerpoint/2019/9/main/command">
                <pc:docMk/>
                <pc:sldMk cId="127833343" sldId="5156"/>
                <pc2:cmMk id="{B86F3CA6-6762-47C6-935C-E7B2EE3CEF4A}"/>
              </pc2:cmMkLst>
            </pc226:cmChg>
          </p:ext>
        </pc:extLst>
      </pc:sldChg>
      <pc:sldChg chg="addSp modSp mod delCm modCm modNotesTx">
        <pc:chgData name="Jacob, Karen (SPAC/PSPC) (elle-la / she-her)" userId="66e9cce0-e37b-4645-a907-f7690bd68dfb" providerId="ADAL" clId="{A3599A74-B049-44EE-8670-DE420CF3148A}" dt="2024-10-30T19:35:14.696" v="19956"/>
        <pc:sldMkLst>
          <pc:docMk/>
          <pc:sldMk cId="1906248257" sldId="5157"/>
        </pc:sldMkLst>
        <pc:spChg chg="mod">
          <ac:chgData name="Jacob, Karen (SPAC/PSPC) (elle-la / she-her)" userId="66e9cce0-e37b-4645-a907-f7690bd68dfb" providerId="ADAL" clId="{A3599A74-B049-44EE-8670-DE420CF3148A}" dt="2024-10-17T15:42:48.816" v="4194" actId="20577"/>
          <ac:spMkLst>
            <pc:docMk/>
            <pc:sldMk cId="1906248257" sldId="5157"/>
            <ac:spMk id="2" creationId="{E2A90173-C9BE-15AB-2F1B-343129698A10}"/>
          </ac:spMkLst>
        </pc:spChg>
        <pc:spChg chg="mod">
          <ac:chgData name="Jacob, Karen (SPAC/PSPC) (elle-la / she-her)" userId="66e9cce0-e37b-4645-a907-f7690bd68dfb" providerId="ADAL" clId="{A3599A74-B049-44EE-8670-DE420CF3148A}" dt="2024-10-23T20:20:58.255" v="18352" actId="403"/>
          <ac:spMkLst>
            <pc:docMk/>
            <pc:sldMk cId="1906248257" sldId="5157"/>
            <ac:spMk id="3" creationId="{7A78167E-F052-C9E8-04C8-15DFB9851FEC}"/>
          </ac:spMkLst>
        </pc:spChg>
        <pc:spChg chg="add mod">
          <ac:chgData name="Jacob, Karen (SPAC/PSPC) (elle-la / she-her)" userId="66e9cce0-e37b-4645-a907-f7690bd68dfb" providerId="ADAL" clId="{A3599A74-B049-44EE-8670-DE420CF3148A}" dt="2024-10-18T15:27:33.941" v="6697" actId="1036"/>
          <ac:spMkLst>
            <pc:docMk/>
            <pc:sldMk cId="1906248257" sldId="5157"/>
            <ac:spMk id="7" creationId="{CC2D8B5B-DD81-8C68-A503-6C536867FD7F}"/>
          </ac:spMkLst>
        </pc:spChg>
        <pc:spChg chg="add mod">
          <ac:chgData name="Jacob, Karen (SPAC/PSPC) (elle-la / she-her)" userId="66e9cce0-e37b-4645-a907-f7690bd68dfb" providerId="ADAL" clId="{A3599A74-B049-44EE-8670-DE420CF3148A}" dt="2024-10-18T15:27:33.941" v="6697" actId="1036"/>
          <ac:spMkLst>
            <pc:docMk/>
            <pc:sldMk cId="1906248257" sldId="5157"/>
            <ac:spMk id="12" creationId="{79E5A377-DAE4-753B-F5E9-24A86950F8FE}"/>
          </ac:spMkLst>
        </pc:spChg>
        <pc:spChg chg="add mod">
          <ac:chgData name="Jacob, Karen (SPAC/PSPC) (elle-la / she-her)" userId="66e9cce0-e37b-4645-a907-f7690bd68dfb" providerId="ADAL" clId="{A3599A74-B049-44EE-8670-DE420CF3148A}" dt="2024-10-23T19:39:09.182" v="14405" actId="1076"/>
          <ac:spMkLst>
            <pc:docMk/>
            <pc:sldMk cId="1906248257" sldId="5157"/>
            <ac:spMk id="13" creationId="{D0C12D73-8CDE-B900-CBD1-6FC806D83D2C}"/>
          </ac:spMkLst>
        </pc:spChg>
        <pc:picChg chg="add mod">
          <ac:chgData name="Jacob, Karen (SPAC/PSPC) (elle-la / she-her)" userId="66e9cce0-e37b-4645-a907-f7690bd68dfb" providerId="ADAL" clId="{A3599A74-B049-44EE-8670-DE420CF3148A}" dt="2024-10-18T15:27:33.941" v="6697" actId="1036"/>
          <ac:picMkLst>
            <pc:docMk/>
            <pc:sldMk cId="1906248257" sldId="5157"/>
            <ac:picMk id="6" creationId="{185AE60D-63D0-0E73-0759-4A42E0272CBF}"/>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30T19:35:14.696" v="19956"/>
              <pc2:cmMkLst xmlns:pc2="http://schemas.microsoft.com/office/powerpoint/2019/9/main/command">
                <pc:docMk/>
                <pc:sldMk cId="1906248257" sldId="5157"/>
                <pc2:cmMk id="{851C8408-012E-44F2-B092-64E5602B8679}"/>
              </pc2:cmMkLst>
              <pc226:cmRplyChg chg="add">
                <pc226:chgData name="Jacob, Karen (SPAC/PSPC) (elle-la / she-her)" userId="66e9cce0-e37b-4645-a907-f7690bd68dfb" providerId="ADAL" clId="{A3599A74-B049-44EE-8670-DE420CF3148A}" dt="2024-10-23T18:11:00.380" v="8058"/>
                <pc2:cmRplyMkLst xmlns:pc2="http://schemas.microsoft.com/office/powerpoint/2019/9/main/command">
                  <pc:docMk/>
                  <pc:sldMk cId="1906248257" sldId="5157"/>
                  <pc2:cmMk id="{851C8408-012E-44F2-B092-64E5602B8679}"/>
                  <pc2:cmRplyMk id="{9D9C5B24-862F-4BA0-8478-03195ECF4136}"/>
                </pc2:cmRplyMkLst>
              </pc226:cmRplyChg>
            </pc226:cmChg>
          </p:ext>
        </pc:extLst>
      </pc:sldChg>
      <pc:sldChg chg="del ord">
        <pc:chgData name="Jacob, Karen (SPAC/PSPC) (elle-la / she-her)" userId="66e9cce0-e37b-4645-a907-f7690bd68dfb" providerId="ADAL" clId="{A3599A74-B049-44EE-8670-DE420CF3148A}" dt="2024-10-17T13:43:43.230" v="28" actId="47"/>
        <pc:sldMkLst>
          <pc:docMk/>
          <pc:sldMk cId="4277358021" sldId="5158"/>
        </pc:sldMkLst>
      </pc:sldChg>
      <pc:sldChg chg="del">
        <pc:chgData name="Jacob, Karen (SPAC/PSPC) (elle-la / she-her)" userId="66e9cce0-e37b-4645-a907-f7690bd68dfb" providerId="ADAL" clId="{A3599A74-B049-44EE-8670-DE420CF3148A}" dt="2024-10-17T13:43:36.209" v="26" actId="47"/>
        <pc:sldMkLst>
          <pc:docMk/>
          <pc:sldMk cId="4184038647" sldId="5159"/>
        </pc:sldMkLst>
      </pc:sldChg>
      <pc:sldChg chg="modSp add del mod">
        <pc:chgData name="Jacob, Karen (SPAC/PSPC) (elle-la / she-her)" userId="66e9cce0-e37b-4645-a907-f7690bd68dfb" providerId="ADAL" clId="{A3599A74-B049-44EE-8670-DE420CF3148A}" dt="2024-10-17T14:15:18.164" v="789" actId="47"/>
        <pc:sldMkLst>
          <pc:docMk/>
          <pc:sldMk cId="2356431639" sldId="5160"/>
        </pc:sldMkLst>
        <pc:spChg chg="mod">
          <ac:chgData name="Jacob, Karen (SPAC/PSPC) (elle-la / she-her)" userId="66e9cce0-e37b-4645-a907-f7690bd68dfb" providerId="ADAL" clId="{A3599A74-B049-44EE-8670-DE420CF3148A}" dt="2024-10-17T13:43:26.445" v="25" actId="20577"/>
          <ac:spMkLst>
            <pc:docMk/>
            <pc:sldMk cId="2356431639" sldId="5160"/>
            <ac:spMk id="5" creationId="{D0DACE9A-1229-9EEE-A180-51B071D4E977}"/>
          </ac:spMkLst>
        </pc:spChg>
      </pc:sldChg>
      <pc:sldChg chg="modSp add mod ord delCm modCm">
        <pc:chgData name="Jacob, Karen (SPAC/PSPC) (elle-la / she-her)" userId="66e9cce0-e37b-4645-a907-f7690bd68dfb" providerId="ADAL" clId="{A3599A74-B049-44EE-8670-DE420CF3148A}" dt="2024-10-30T19:30:53.777" v="19754"/>
        <pc:sldMkLst>
          <pc:docMk/>
          <pc:sldMk cId="1455389328" sldId="5161"/>
        </pc:sldMkLst>
        <pc:spChg chg="mod">
          <ac:chgData name="Jacob, Karen (SPAC/PSPC) (elle-la / she-her)" userId="66e9cce0-e37b-4645-a907-f7690bd68dfb" providerId="ADAL" clId="{A3599A74-B049-44EE-8670-DE420CF3148A}" dt="2024-10-23T19:05:27.993" v="9965" actId="20577"/>
          <ac:spMkLst>
            <pc:docMk/>
            <pc:sldMk cId="1455389328" sldId="5161"/>
            <ac:spMk id="2" creationId="{E2A90173-C9BE-15AB-2F1B-343129698A10}"/>
          </ac:spMkLst>
        </pc:spChg>
        <pc:spChg chg="mod">
          <ac:chgData name="Jacob, Karen (SPAC/PSPC) (elle-la / she-her)" userId="66e9cce0-e37b-4645-a907-f7690bd68dfb" providerId="ADAL" clId="{A3599A74-B049-44EE-8670-DE420CF3148A}" dt="2024-10-30T19:30:47.683" v="19752" actId="6549"/>
          <ac:spMkLst>
            <pc:docMk/>
            <pc:sldMk cId="1455389328" sldId="5161"/>
            <ac:spMk id="3" creationId="{7A78167E-F052-C9E8-04C8-15DFB9851FEC}"/>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30:53.777" v="19754"/>
              <pc2:cmMkLst xmlns:pc2="http://schemas.microsoft.com/office/powerpoint/2019/9/main/command">
                <pc:docMk/>
                <pc:sldMk cId="1455389328" sldId="5161"/>
                <pc2:cmMk id="{C7F2A920-AA00-4BFC-B913-A16A62B0C314}"/>
              </pc2:cmMkLst>
            </pc226:cmChg>
          </p:ext>
        </pc:extLst>
      </pc:sldChg>
      <pc:sldChg chg="modSp add mod">
        <pc:chgData name="Jacob, Karen (SPAC/PSPC) (elle-la / she-her)" userId="66e9cce0-e37b-4645-a907-f7690bd68dfb" providerId="ADAL" clId="{A3599A74-B049-44EE-8670-DE420CF3148A}" dt="2024-10-23T19:19:00.026" v="11574" actId="20577"/>
        <pc:sldMkLst>
          <pc:docMk/>
          <pc:sldMk cId="630006528" sldId="5162"/>
        </pc:sldMkLst>
        <pc:spChg chg="mod">
          <ac:chgData name="Jacob, Karen (SPAC/PSPC) (elle-la / she-her)" userId="66e9cce0-e37b-4645-a907-f7690bd68dfb" providerId="ADAL" clId="{A3599A74-B049-44EE-8670-DE420CF3148A}" dt="2024-10-18T14:28:58.106" v="5062" actId="20577"/>
          <ac:spMkLst>
            <pc:docMk/>
            <pc:sldMk cId="630006528" sldId="5162"/>
            <ac:spMk id="2" creationId="{E2A90173-C9BE-15AB-2F1B-343129698A10}"/>
          </ac:spMkLst>
        </pc:spChg>
        <pc:spChg chg="mod">
          <ac:chgData name="Jacob, Karen (SPAC/PSPC) (elle-la / she-her)" userId="66e9cce0-e37b-4645-a907-f7690bd68dfb" providerId="ADAL" clId="{A3599A74-B049-44EE-8670-DE420CF3148A}" dt="2024-10-23T19:19:00.026" v="11574" actId="20577"/>
          <ac:spMkLst>
            <pc:docMk/>
            <pc:sldMk cId="630006528" sldId="5162"/>
            <ac:spMk id="3" creationId="{7A78167E-F052-C9E8-04C8-15DFB9851FEC}"/>
          </ac:spMkLst>
        </pc:spChg>
      </pc:sldChg>
      <pc:sldChg chg="addSp delSp modSp add mod">
        <pc:chgData name="Jacob, Karen (SPAC/PSPC) (elle-la / she-her)" userId="66e9cce0-e37b-4645-a907-f7690bd68dfb" providerId="ADAL" clId="{A3599A74-B049-44EE-8670-DE420CF3148A}" dt="2024-10-18T18:17:39.735" v="7823" actId="20577"/>
        <pc:sldMkLst>
          <pc:docMk/>
          <pc:sldMk cId="416905842" sldId="5163"/>
        </pc:sldMkLst>
        <pc:spChg chg="mod">
          <ac:chgData name="Jacob, Karen (SPAC/PSPC) (elle-la / she-her)" userId="66e9cce0-e37b-4645-a907-f7690bd68dfb" providerId="ADAL" clId="{A3599A74-B049-44EE-8670-DE420CF3148A}" dt="2024-10-18T12:47:18.775" v="4348" actId="20577"/>
          <ac:spMkLst>
            <pc:docMk/>
            <pc:sldMk cId="416905842" sldId="5163"/>
            <ac:spMk id="4" creationId="{6E84A27E-2844-316E-6672-1236545BDBDC}"/>
          </ac:spMkLst>
        </pc:spChg>
        <pc:spChg chg="add mod">
          <ac:chgData name="Jacob, Karen (SPAC/PSPC) (elle-la / she-her)" userId="66e9cce0-e37b-4645-a907-f7690bd68dfb" providerId="ADAL" clId="{A3599A74-B049-44EE-8670-DE420CF3148A}" dt="2024-10-18T12:51:32.810" v="4556" actId="1076"/>
          <ac:spMkLst>
            <pc:docMk/>
            <pc:sldMk cId="416905842" sldId="5163"/>
            <ac:spMk id="5" creationId="{A4374EFD-96BA-20EC-CC27-A13CEB0C6400}"/>
          </ac:spMkLst>
        </pc:spChg>
        <pc:spChg chg="add mod">
          <ac:chgData name="Jacob, Karen (SPAC/PSPC) (elle-la / she-her)" userId="66e9cce0-e37b-4645-a907-f7690bd68dfb" providerId="ADAL" clId="{A3599A74-B049-44EE-8670-DE420CF3148A}" dt="2024-10-18T12:47:56.087" v="4454" actId="14100"/>
          <ac:spMkLst>
            <pc:docMk/>
            <pc:sldMk cId="416905842" sldId="5163"/>
            <ac:spMk id="6" creationId="{1EEE46AB-E199-BFF5-8717-7CE4227F668E}"/>
          </ac:spMkLst>
        </pc:spChg>
        <pc:spChg chg="add mod">
          <ac:chgData name="Jacob, Karen (SPAC/PSPC) (elle-la / she-her)" userId="66e9cce0-e37b-4645-a907-f7690bd68dfb" providerId="ADAL" clId="{A3599A74-B049-44EE-8670-DE420CF3148A}" dt="2024-10-18T12:53:31.952" v="4620" actId="1076"/>
          <ac:spMkLst>
            <pc:docMk/>
            <pc:sldMk cId="416905842" sldId="5163"/>
            <ac:spMk id="7" creationId="{F6FC4EB5-6A97-F3B8-AEBA-5B4EDA1C15B9}"/>
          </ac:spMkLst>
        </pc:spChg>
        <pc:spChg chg="add del mod">
          <ac:chgData name="Jacob, Karen (SPAC/PSPC) (elle-la / she-her)" userId="66e9cce0-e37b-4645-a907-f7690bd68dfb" providerId="ADAL" clId="{A3599A74-B049-44EE-8670-DE420CF3148A}" dt="2024-10-18T12:51:01.490" v="4552"/>
          <ac:spMkLst>
            <pc:docMk/>
            <pc:sldMk cId="416905842" sldId="5163"/>
            <ac:spMk id="8" creationId="{8C399338-D56A-956B-8F0E-94D3F1909232}"/>
          </ac:spMkLst>
        </pc:spChg>
        <pc:spChg chg="add mod">
          <ac:chgData name="Jacob, Karen (SPAC/PSPC) (elle-la / she-her)" userId="66e9cce0-e37b-4645-a907-f7690bd68dfb" providerId="ADAL" clId="{A3599A74-B049-44EE-8670-DE420CF3148A}" dt="2024-10-18T12:51:50.273" v="4562" actId="1076"/>
          <ac:spMkLst>
            <pc:docMk/>
            <pc:sldMk cId="416905842" sldId="5163"/>
            <ac:spMk id="9" creationId="{92F5A39C-7194-FD3B-3DAF-BF8DE677C204}"/>
          </ac:spMkLst>
        </pc:spChg>
        <pc:spChg chg="add mod">
          <ac:chgData name="Jacob, Karen (SPAC/PSPC) (elle-la / she-her)" userId="66e9cce0-e37b-4645-a907-f7690bd68dfb" providerId="ADAL" clId="{A3599A74-B049-44EE-8670-DE420CF3148A}" dt="2024-10-18T18:17:31.867" v="7805" actId="20577"/>
          <ac:spMkLst>
            <pc:docMk/>
            <pc:sldMk cId="416905842" sldId="5163"/>
            <ac:spMk id="10" creationId="{64B9E736-275C-70FF-647F-AD66A2CAF66F}"/>
          </ac:spMkLst>
        </pc:spChg>
        <pc:spChg chg="add mod">
          <ac:chgData name="Jacob, Karen (SPAC/PSPC) (elle-la / she-her)" userId="66e9cce0-e37b-4645-a907-f7690bd68dfb" providerId="ADAL" clId="{A3599A74-B049-44EE-8670-DE420CF3148A}" dt="2024-10-18T12:53:22.978" v="4618" actId="1076"/>
          <ac:spMkLst>
            <pc:docMk/>
            <pc:sldMk cId="416905842" sldId="5163"/>
            <ac:spMk id="11" creationId="{801E6EFE-3786-B503-900D-AB1C052C5DC7}"/>
          </ac:spMkLst>
        </pc:spChg>
        <pc:spChg chg="del">
          <ac:chgData name="Jacob, Karen (SPAC/PSPC) (elle-la / she-her)" userId="66e9cce0-e37b-4645-a907-f7690bd68dfb" providerId="ADAL" clId="{A3599A74-B049-44EE-8670-DE420CF3148A}" dt="2024-10-17T14:20:32.651" v="966" actId="478"/>
          <ac:spMkLst>
            <pc:docMk/>
            <pc:sldMk cId="416905842" sldId="5163"/>
            <ac:spMk id="12" creationId="{49BC1508-1F65-AA39-033E-D60F15B261D2}"/>
          </ac:spMkLst>
        </pc:spChg>
        <pc:spChg chg="add mod">
          <ac:chgData name="Jacob, Karen (SPAC/PSPC) (elle-la / she-her)" userId="66e9cce0-e37b-4645-a907-f7690bd68dfb" providerId="ADAL" clId="{A3599A74-B049-44EE-8670-DE420CF3148A}" dt="2024-10-18T18:17:36.074" v="7814" actId="20577"/>
          <ac:spMkLst>
            <pc:docMk/>
            <pc:sldMk cId="416905842" sldId="5163"/>
            <ac:spMk id="12" creationId="{5A496BE1-88E1-E380-0EE2-6F47622AF956}"/>
          </ac:spMkLst>
        </pc:spChg>
        <pc:spChg chg="add mod">
          <ac:chgData name="Jacob, Karen (SPAC/PSPC) (elle-la / she-her)" userId="66e9cce0-e37b-4645-a907-f7690bd68dfb" providerId="ADAL" clId="{A3599A74-B049-44EE-8670-DE420CF3148A}" dt="2024-10-18T18:17:39.735" v="7823" actId="20577"/>
          <ac:spMkLst>
            <pc:docMk/>
            <pc:sldMk cId="416905842" sldId="5163"/>
            <ac:spMk id="13" creationId="{918BF31B-5C95-6A42-7144-947D2223A772}"/>
          </ac:spMkLst>
        </pc:spChg>
        <pc:spChg chg="add mod">
          <ac:chgData name="Jacob, Karen (SPAC/PSPC) (elle-la / she-her)" userId="66e9cce0-e37b-4645-a907-f7690bd68dfb" providerId="ADAL" clId="{A3599A74-B049-44EE-8670-DE420CF3148A}" dt="2024-10-18T12:53:07.874" v="4615" actId="1076"/>
          <ac:spMkLst>
            <pc:docMk/>
            <pc:sldMk cId="416905842" sldId="5163"/>
            <ac:spMk id="14" creationId="{CCB72D98-435F-5CEC-6FB4-919D7DBD56AE}"/>
          </ac:spMkLst>
        </pc:spChg>
        <pc:spChg chg="add mod">
          <ac:chgData name="Jacob, Karen (SPAC/PSPC) (elle-la / she-her)" userId="66e9cce0-e37b-4645-a907-f7690bd68dfb" providerId="ADAL" clId="{A3599A74-B049-44EE-8670-DE420CF3148A}" dt="2024-10-18T12:53:11.610" v="4616" actId="1076"/>
          <ac:spMkLst>
            <pc:docMk/>
            <pc:sldMk cId="416905842" sldId="5163"/>
            <ac:spMk id="15" creationId="{88223E01-4461-3929-D0F3-0D9E480586ED}"/>
          </ac:spMkLst>
        </pc:spChg>
        <pc:spChg chg="add mod">
          <ac:chgData name="Jacob, Karen (SPAC/PSPC) (elle-la / she-her)" userId="66e9cce0-e37b-4645-a907-f7690bd68dfb" providerId="ADAL" clId="{A3599A74-B049-44EE-8670-DE420CF3148A}" dt="2024-10-18T12:51:00.012" v="4550" actId="122"/>
          <ac:spMkLst>
            <pc:docMk/>
            <pc:sldMk cId="416905842" sldId="5163"/>
            <ac:spMk id="16" creationId="{2C35CEA1-D994-28EA-4A4F-631EDF5BE865}"/>
          </ac:spMkLst>
        </pc:spChg>
        <pc:spChg chg="add mod">
          <ac:chgData name="Jacob, Karen (SPAC/PSPC) (elle-la / she-her)" userId="66e9cce0-e37b-4645-a907-f7690bd68dfb" providerId="ADAL" clId="{A3599A74-B049-44EE-8670-DE420CF3148A}" dt="2024-10-17T14:21:00.331" v="1000" actId="1035"/>
          <ac:spMkLst>
            <pc:docMk/>
            <pc:sldMk cId="416905842" sldId="5163"/>
            <ac:spMk id="17" creationId="{66FF4875-49A7-FD78-EF0A-747DFB4CD1C8}"/>
          </ac:spMkLst>
        </pc:spChg>
        <pc:spChg chg="add mod">
          <ac:chgData name="Jacob, Karen (SPAC/PSPC) (elle-la / she-her)" userId="66e9cce0-e37b-4645-a907-f7690bd68dfb" providerId="ADAL" clId="{A3599A74-B049-44EE-8670-DE420CF3148A}" dt="2024-10-17T14:21:00.331" v="1000" actId="1035"/>
          <ac:spMkLst>
            <pc:docMk/>
            <pc:sldMk cId="416905842" sldId="5163"/>
            <ac:spMk id="18" creationId="{DBB57DC8-4628-1B79-318B-666FC4670D91}"/>
          </ac:spMkLst>
        </pc:spChg>
        <pc:spChg chg="add mod">
          <ac:chgData name="Jacob, Karen (SPAC/PSPC) (elle-la / she-her)" userId="66e9cce0-e37b-4645-a907-f7690bd68dfb" providerId="ADAL" clId="{A3599A74-B049-44EE-8670-DE420CF3148A}" dt="2024-10-17T14:21:00.331" v="1000" actId="1035"/>
          <ac:spMkLst>
            <pc:docMk/>
            <pc:sldMk cId="416905842" sldId="5163"/>
            <ac:spMk id="19" creationId="{AF495A8B-A250-7A4D-21E3-921C682454ED}"/>
          </ac:spMkLst>
        </pc:spChg>
        <pc:spChg chg="add mod">
          <ac:chgData name="Jacob, Karen (SPAC/PSPC) (elle-la / she-her)" userId="66e9cce0-e37b-4645-a907-f7690bd68dfb" providerId="ADAL" clId="{A3599A74-B049-44EE-8670-DE420CF3148A}" dt="2024-10-17T14:21:00.331" v="1000" actId="1035"/>
          <ac:spMkLst>
            <pc:docMk/>
            <pc:sldMk cId="416905842" sldId="5163"/>
            <ac:spMk id="20" creationId="{CFA085D6-0099-ED89-398A-18F25D593F88}"/>
          </ac:spMkLst>
        </pc:spChg>
        <pc:spChg chg="add mod">
          <ac:chgData name="Jacob, Karen (SPAC/PSPC) (elle-la / she-her)" userId="66e9cce0-e37b-4645-a907-f7690bd68dfb" providerId="ADAL" clId="{A3599A74-B049-44EE-8670-DE420CF3148A}" dt="2024-10-17T14:21:00.331" v="1000" actId="1035"/>
          <ac:spMkLst>
            <pc:docMk/>
            <pc:sldMk cId="416905842" sldId="5163"/>
            <ac:spMk id="22" creationId="{C612F677-64CF-8D3A-4DB1-4DE1B2AF9EA1}"/>
          </ac:spMkLst>
        </pc:spChg>
        <pc:spChg chg="add mod">
          <ac:chgData name="Jacob, Karen (SPAC/PSPC) (elle-la / she-her)" userId="66e9cce0-e37b-4645-a907-f7690bd68dfb" providerId="ADAL" clId="{A3599A74-B049-44EE-8670-DE420CF3148A}" dt="2024-10-17T14:21:00.331" v="1000" actId="1035"/>
          <ac:spMkLst>
            <pc:docMk/>
            <pc:sldMk cId="416905842" sldId="5163"/>
            <ac:spMk id="24" creationId="{46475CA0-5389-EEDC-9749-512BE3642A63}"/>
          </ac:spMkLst>
        </pc:spChg>
        <pc:spChg chg="add mod">
          <ac:chgData name="Jacob, Karen (SPAC/PSPC) (elle-la / she-her)" userId="66e9cce0-e37b-4645-a907-f7690bd68dfb" providerId="ADAL" clId="{A3599A74-B049-44EE-8670-DE420CF3148A}" dt="2024-10-17T14:21:00.331" v="1000" actId="1035"/>
          <ac:spMkLst>
            <pc:docMk/>
            <pc:sldMk cId="416905842" sldId="5163"/>
            <ac:spMk id="25" creationId="{9D314767-FE2C-346B-8209-21ED556BD3C8}"/>
          </ac:spMkLst>
        </pc:spChg>
        <pc:spChg chg="add mod">
          <ac:chgData name="Jacob, Karen (SPAC/PSPC) (elle-la / she-her)" userId="66e9cce0-e37b-4645-a907-f7690bd68dfb" providerId="ADAL" clId="{A3599A74-B049-44EE-8670-DE420CF3148A}" dt="2024-10-17T14:21:00.331" v="1000" actId="1035"/>
          <ac:spMkLst>
            <pc:docMk/>
            <pc:sldMk cId="416905842" sldId="5163"/>
            <ac:spMk id="26" creationId="{324E2945-CFA9-E091-39A7-0B3A162EC931}"/>
          </ac:spMkLst>
        </pc:spChg>
        <pc:spChg chg="add mod">
          <ac:chgData name="Jacob, Karen (SPAC/PSPC) (elle-la / she-her)" userId="66e9cce0-e37b-4645-a907-f7690bd68dfb" providerId="ADAL" clId="{A3599A74-B049-44EE-8670-DE420CF3148A}" dt="2024-10-17T14:21:00.331" v="1000" actId="1035"/>
          <ac:spMkLst>
            <pc:docMk/>
            <pc:sldMk cId="416905842" sldId="5163"/>
            <ac:spMk id="27" creationId="{11ECA5C9-9824-DF69-5A99-FCF83FBBF07E}"/>
          </ac:spMkLst>
        </pc:spChg>
        <pc:spChg chg="add mod">
          <ac:chgData name="Jacob, Karen (SPAC/PSPC) (elle-la / she-her)" userId="66e9cce0-e37b-4645-a907-f7690bd68dfb" providerId="ADAL" clId="{A3599A74-B049-44EE-8670-DE420CF3148A}" dt="2024-10-17T14:21:00.331" v="1000" actId="1035"/>
          <ac:spMkLst>
            <pc:docMk/>
            <pc:sldMk cId="416905842" sldId="5163"/>
            <ac:spMk id="28" creationId="{0A62947A-5147-AF36-8215-7461ED6217C6}"/>
          </ac:spMkLst>
        </pc:spChg>
        <pc:spChg chg="add mod">
          <ac:chgData name="Jacob, Karen (SPAC/PSPC) (elle-la / she-her)" userId="66e9cce0-e37b-4645-a907-f7690bd68dfb" providerId="ADAL" clId="{A3599A74-B049-44EE-8670-DE420CF3148A}" dt="2024-10-17T14:21:00.331" v="1000" actId="1035"/>
          <ac:spMkLst>
            <pc:docMk/>
            <pc:sldMk cId="416905842" sldId="5163"/>
            <ac:spMk id="30" creationId="{2ACFEF68-1F4C-FC65-92A8-C60D7FC9DA1B}"/>
          </ac:spMkLst>
        </pc:spChg>
        <pc:spChg chg="add mod">
          <ac:chgData name="Jacob, Karen (SPAC/PSPC) (elle-la / she-her)" userId="66e9cce0-e37b-4645-a907-f7690bd68dfb" providerId="ADAL" clId="{A3599A74-B049-44EE-8670-DE420CF3148A}" dt="2024-10-17T14:21:00.331" v="1000" actId="1035"/>
          <ac:spMkLst>
            <pc:docMk/>
            <pc:sldMk cId="416905842" sldId="5163"/>
            <ac:spMk id="31" creationId="{F1FC45FA-1DF2-7C17-C659-9ED369795783}"/>
          </ac:spMkLst>
        </pc:spChg>
        <pc:spChg chg="add mod">
          <ac:chgData name="Jacob, Karen (SPAC/PSPC) (elle-la / she-her)" userId="66e9cce0-e37b-4645-a907-f7690bd68dfb" providerId="ADAL" clId="{A3599A74-B049-44EE-8670-DE420CF3148A}" dt="2024-10-17T14:21:00.331" v="1000" actId="1035"/>
          <ac:spMkLst>
            <pc:docMk/>
            <pc:sldMk cId="416905842" sldId="5163"/>
            <ac:spMk id="33" creationId="{B52E6772-4247-DF96-8615-5FF05951886D}"/>
          </ac:spMkLst>
        </pc:spChg>
        <pc:spChg chg="add mod">
          <ac:chgData name="Jacob, Karen (SPAC/PSPC) (elle-la / she-her)" userId="66e9cce0-e37b-4645-a907-f7690bd68dfb" providerId="ADAL" clId="{A3599A74-B049-44EE-8670-DE420CF3148A}" dt="2024-10-17T14:21:00.331" v="1000" actId="1035"/>
          <ac:spMkLst>
            <pc:docMk/>
            <pc:sldMk cId="416905842" sldId="5163"/>
            <ac:spMk id="34" creationId="{F7AE0944-3100-D1BD-EAD8-DD82CA214995}"/>
          </ac:spMkLst>
        </pc:spChg>
        <pc:spChg chg="add mod">
          <ac:chgData name="Jacob, Karen (SPAC/PSPC) (elle-la / she-her)" userId="66e9cce0-e37b-4645-a907-f7690bd68dfb" providerId="ADAL" clId="{A3599A74-B049-44EE-8670-DE420CF3148A}" dt="2024-10-17T14:21:00.331" v="1000" actId="1035"/>
          <ac:spMkLst>
            <pc:docMk/>
            <pc:sldMk cId="416905842" sldId="5163"/>
            <ac:spMk id="35" creationId="{A45381C8-31CD-44E3-FCCB-74232805A5CB}"/>
          </ac:spMkLst>
        </pc:spChg>
        <pc:spChg chg="add mod">
          <ac:chgData name="Jacob, Karen (SPAC/PSPC) (elle-la / she-her)" userId="66e9cce0-e37b-4645-a907-f7690bd68dfb" providerId="ADAL" clId="{A3599A74-B049-44EE-8670-DE420CF3148A}" dt="2024-10-17T14:21:00.331" v="1000" actId="1035"/>
          <ac:spMkLst>
            <pc:docMk/>
            <pc:sldMk cId="416905842" sldId="5163"/>
            <ac:spMk id="36" creationId="{9FA4E66A-B415-8D50-2224-E9B708C19B9F}"/>
          </ac:spMkLst>
        </pc:spChg>
        <pc:spChg chg="add mod">
          <ac:chgData name="Jacob, Karen (SPAC/PSPC) (elle-la / she-her)" userId="66e9cce0-e37b-4645-a907-f7690bd68dfb" providerId="ADAL" clId="{A3599A74-B049-44EE-8670-DE420CF3148A}" dt="2024-10-17T14:21:00.331" v="1000" actId="1035"/>
          <ac:spMkLst>
            <pc:docMk/>
            <pc:sldMk cId="416905842" sldId="5163"/>
            <ac:spMk id="38" creationId="{75825BFD-0590-0064-1DB0-3560C4BC6CBC}"/>
          </ac:spMkLst>
        </pc:spChg>
        <pc:spChg chg="add mod">
          <ac:chgData name="Jacob, Karen (SPAC/PSPC) (elle-la / she-her)" userId="66e9cce0-e37b-4645-a907-f7690bd68dfb" providerId="ADAL" clId="{A3599A74-B049-44EE-8670-DE420CF3148A}" dt="2024-10-17T14:21:00.331" v="1000" actId="1035"/>
          <ac:spMkLst>
            <pc:docMk/>
            <pc:sldMk cId="416905842" sldId="5163"/>
            <ac:spMk id="40" creationId="{543AE277-053A-1846-322B-402EC8E55235}"/>
          </ac:spMkLst>
        </pc:spChg>
        <pc:spChg chg="add mod">
          <ac:chgData name="Jacob, Karen (SPAC/PSPC) (elle-la / she-her)" userId="66e9cce0-e37b-4645-a907-f7690bd68dfb" providerId="ADAL" clId="{A3599A74-B049-44EE-8670-DE420CF3148A}" dt="2024-10-17T14:21:00.331" v="1000" actId="1035"/>
          <ac:spMkLst>
            <pc:docMk/>
            <pc:sldMk cId="416905842" sldId="5163"/>
            <ac:spMk id="41" creationId="{6CC2F477-C447-01DD-A0EF-2C71D12FA9E7}"/>
          </ac:spMkLst>
        </pc:spChg>
        <pc:spChg chg="add mod">
          <ac:chgData name="Jacob, Karen (SPAC/PSPC) (elle-la / she-her)" userId="66e9cce0-e37b-4645-a907-f7690bd68dfb" providerId="ADAL" clId="{A3599A74-B049-44EE-8670-DE420CF3148A}" dt="2024-10-17T14:21:00.331" v="1000" actId="1035"/>
          <ac:spMkLst>
            <pc:docMk/>
            <pc:sldMk cId="416905842" sldId="5163"/>
            <ac:spMk id="42" creationId="{69A35460-9369-E06A-5878-2E3A1790FD06}"/>
          </ac:spMkLst>
        </pc:spChg>
        <pc:spChg chg="add mod">
          <ac:chgData name="Jacob, Karen (SPAC/PSPC) (elle-la / she-her)" userId="66e9cce0-e37b-4645-a907-f7690bd68dfb" providerId="ADAL" clId="{A3599A74-B049-44EE-8670-DE420CF3148A}" dt="2024-10-17T14:21:00.331" v="1000" actId="1035"/>
          <ac:spMkLst>
            <pc:docMk/>
            <pc:sldMk cId="416905842" sldId="5163"/>
            <ac:spMk id="43" creationId="{9EBD7031-D6B8-3C3F-6C21-36F88D9BB280}"/>
          </ac:spMkLst>
        </pc:spChg>
        <pc:spChg chg="add mod">
          <ac:chgData name="Jacob, Karen (SPAC/PSPC) (elle-la / she-her)" userId="66e9cce0-e37b-4645-a907-f7690bd68dfb" providerId="ADAL" clId="{A3599A74-B049-44EE-8670-DE420CF3148A}" dt="2024-10-17T14:21:00.331" v="1000" actId="1035"/>
          <ac:spMkLst>
            <pc:docMk/>
            <pc:sldMk cId="416905842" sldId="5163"/>
            <ac:spMk id="45" creationId="{1ECE98B4-7BDD-F02D-1EB2-4363C482AD8C}"/>
          </ac:spMkLst>
        </pc:spChg>
        <pc:spChg chg="add mod">
          <ac:chgData name="Jacob, Karen (SPAC/PSPC) (elle-la / she-her)" userId="66e9cce0-e37b-4645-a907-f7690bd68dfb" providerId="ADAL" clId="{A3599A74-B049-44EE-8670-DE420CF3148A}" dt="2024-10-17T14:21:00.331" v="1000" actId="1035"/>
          <ac:spMkLst>
            <pc:docMk/>
            <pc:sldMk cId="416905842" sldId="5163"/>
            <ac:spMk id="46" creationId="{038B6E04-26C2-25D3-B757-F068727BE88E}"/>
          </ac:spMkLst>
        </pc:spChg>
        <pc:spChg chg="add mod">
          <ac:chgData name="Jacob, Karen (SPAC/PSPC) (elle-la / she-her)" userId="66e9cce0-e37b-4645-a907-f7690bd68dfb" providerId="ADAL" clId="{A3599A74-B049-44EE-8670-DE420CF3148A}" dt="2024-10-17T14:21:00.331" v="1000" actId="1035"/>
          <ac:spMkLst>
            <pc:docMk/>
            <pc:sldMk cId="416905842" sldId="5163"/>
            <ac:spMk id="48" creationId="{5A7F9F9E-9175-F5DF-2A93-F1044995B2FB}"/>
          </ac:spMkLst>
        </pc:spChg>
        <pc:spChg chg="add mod">
          <ac:chgData name="Jacob, Karen (SPAC/PSPC) (elle-la / she-her)" userId="66e9cce0-e37b-4645-a907-f7690bd68dfb" providerId="ADAL" clId="{A3599A74-B049-44EE-8670-DE420CF3148A}" dt="2024-10-17T14:21:00.331" v="1000" actId="1035"/>
          <ac:spMkLst>
            <pc:docMk/>
            <pc:sldMk cId="416905842" sldId="5163"/>
            <ac:spMk id="49" creationId="{A91144D3-0AAE-DE72-53BE-E833CED731E5}"/>
          </ac:spMkLst>
        </pc:spChg>
        <pc:spChg chg="add mod">
          <ac:chgData name="Jacob, Karen (SPAC/PSPC) (elle-la / she-her)" userId="66e9cce0-e37b-4645-a907-f7690bd68dfb" providerId="ADAL" clId="{A3599A74-B049-44EE-8670-DE420CF3148A}" dt="2024-10-17T14:21:00.331" v="1000" actId="1035"/>
          <ac:spMkLst>
            <pc:docMk/>
            <pc:sldMk cId="416905842" sldId="5163"/>
            <ac:spMk id="50" creationId="{C12ED88E-D26B-D688-B79C-4074BFFD53F2}"/>
          </ac:spMkLst>
        </pc:spChg>
        <pc:spChg chg="add mod">
          <ac:chgData name="Jacob, Karen (SPAC/PSPC) (elle-la / she-her)" userId="66e9cce0-e37b-4645-a907-f7690bd68dfb" providerId="ADAL" clId="{A3599A74-B049-44EE-8670-DE420CF3148A}" dt="2024-10-17T14:21:00.331" v="1000" actId="1035"/>
          <ac:spMkLst>
            <pc:docMk/>
            <pc:sldMk cId="416905842" sldId="5163"/>
            <ac:spMk id="51" creationId="{879975FA-9ACA-8B4E-D7F8-5C70F88FD56A}"/>
          </ac:spMkLst>
        </pc:spChg>
        <pc:spChg chg="add mod">
          <ac:chgData name="Jacob, Karen (SPAC/PSPC) (elle-la / she-her)" userId="66e9cce0-e37b-4645-a907-f7690bd68dfb" providerId="ADAL" clId="{A3599A74-B049-44EE-8670-DE420CF3148A}" dt="2024-10-17T14:21:00.331" v="1000" actId="1035"/>
          <ac:spMkLst>
            <pc:docMk/>
            <pc:sldMk cId="416905842" sldId="5163"/>
            <ac:spMk id="52" creationId="{6058D165-FCA6-59E9-C32C-0F1C61DC16FD}"/>
          </ac:spMkLst>
        </pc:spChg>
        <pc:spChg chg="add mod">
          <ac:chgData name="Jacob, Karen (SPAC/PSPC) (elle-la / she-her)" userId="66e9cce0-e37b-4645-a907-f7690bd68dfb" providerId="ADAL" clId="{A3599A74-B049-44EE-8670-DE420CF3148A}" dt="2024-10-17T14:21:00.331" v="1000" actId="1035"/>
          <ac:spMkLst>
            <pc:docMk/>
            <pc:sldMk cId="416905842" sldId="5163"/>
            <ac:spMk id="54" creationId="{5E7B02DF-2558-19D5-EC05-27B8F4C6D40F}"/>
          </ac:spMkLst>
        </pc:spChg>
        <pc:spChg chg="add mod">
          <ac:chgData name="Jacob, Karen (SPAC/PSPC) (elle-la / she-her)" userId="66e9cce0-e37b-4645-a907-f7690bd68dfb" providerId="ADAL" clId="{A3599A74-B049-44EE-8670-DE420CF3148A}" dt="2024-10-17T14:21:00.331" v="1000" actId="1035"/>
          <ac:spMkLst>
            <pc:docMk/>
            <pc:sldMk cId="416905842" sldId="5163"/>
            <ac:spMk id="55" creationId="{55142A24-5EA0-F55D-51BB-D0DC887A2440}"/>
          </ac:spMkLst>
        </pc:spChg>
        <pc:cxnChg chg="add mod">
          <ac:chgData name="Jacob, Karen (SPAC/PSPC) (elle-la / she-her)" userId="66e9cce0-e37b-4645-a907-f7690bd68dfb" providerId="ADAL" clId="{A3599A74-B049-44EE-8670-DE420CF3148A}" dt="2024-10-17T14:21:00.331" v="1000" actId="1035"/>
          <ac:cxnSpMkLst>
            <pc:docMk/>
            <pc:sldMk cId="416905842" sldId="5163"/>
            <ac:cxnSpMk id="21" creationId="{FA7C870F-1F8C-F607-CBAC-3540C33D8445}"/>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23" creationId="{60956224-3BBE-B324-6C51-85BF60ED8D62}"/>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29" creationId="{EB765993-0C2A-63E9-2E8E-2A0287F7F400}"/>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2" creationId="{C41D0D38-D37A-C702-1711-C04AE3FE434C}"/>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7" creationId="{28AFBD7B-8DB2-DBD0-C274-7148A919B674}"/>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9" creationId="{E49B0FD2-5582-BF26-495F-0F4CB8A7FDD1}"/>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44" creationId="{BBBCF7AD-D691-FEB7-4DC9-3FDC9ED648A5}"/>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47" creationId="{FDB8C5F9-1293-B0D8-5E61-88BC09F5547E}"/>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3" creationId="{247E69B8-4C2E-D203-B1A6-289EBF09FF47}"/>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6" creationId="{BD62BE99-7E43-F3E2-3AC9-8D1D1B910FE6}"/>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7" creationId="{69D49AD1-DF40-D8F6-3AEA-DCDBB884942B}"/>
          </ac:cxnSpMkLst>
        </pc:cxnChg>
        <pc:cxnChg chg="add mod">
          <ac:chgData name="Jacob, Karen (SPAC/PSPC) (elle-la / she-her)" userId="66e9cce0-e37b-4645-a907-f7690bd68dfb" providerId="ADAL" clId="{A3599A74-B049-44EE-8670-DE420CF3148A}" dt="2024-10-17T14:21:47.366" v="1037" actId="14100"/>
          <ac:cxnSpMkLst>
            <pc:docMk/>
            <pc:sldMk cId="416905842" sldId="5163"/>
            <ac:cxnSpMk id="58" creationId="{73A11CBD-27CB-DF5A-70FD-69B0EF2C1262}"/>
          </ac:cxnSpMkLst>
        </pc:cxnChg>
      </pc:sldChg>
      <pc:sldChg chg="addSp delSp modSp add mod modCm modNotesTx">
        <pc:chgData name="Jacob, Karen (SPAC/PSPC) (elle-la / she-her)" userId="66e9cce0-e37b-4645-a907-f7690bd68dfb" providerId="ADAL" clId="{A3599A74-B049-44EE-8670-DE420CF3148A}" dt="2024-10-30T19:21:15.087" v="19693" actId="20577"/>
        <pc:sldMkLst>
          <pc:docMk/>
          <pc:sldMk cId="2643018674" sldId="5164"/>
        </pc:sldMkLst>
        <pc:spChg chg="mod">
          <ac:chgData name="Jacob, Karen (SPAC/PSPC) (elle-la / she-her)" userId="66e9cce0-e37b-4645-a907-f7690bd68dfb" providerId="ADAL" clId="{A3599A74-B049-44EE-8670-DE420CF3148A}" dt="2024-10-18T14:45:56.525" v="5353" actId="207"/>
          <ac:spMkLst>
            <pc:docMk/>
            <pc:sldMk cId="2643018674" sldId="5164"/>
            <ac:spMk id="3" creationId="{41BE6B50-88EB-D2A5-67D3-AD36A9027E26}"/>
          </ac:spMkLst>
        </pc:spChg>
        <pc:spChg chg="add del mod">
          <ac:chgData name="Jacob, Karen (SPAC/PSPC) (elle-la / she-her)" userId="66e9cce0-e37b-4645-a907-f7690bd68dfb" providerId="ADAL" clId="{A3599A74-B049-44EE-8670-DE420CF3148A}" dt="2024-10-18T14:45:25.361" v="5344" actId="478"/>
          <ac:spMkLst>
            <pc:docMk/>
            <pc:sldMk cId="2643018674" sldId="5164"/>
            <ac:spMk id="4" creationId="{630D77A7-4E8E-7081-F0AC-4F3053A49FAC}"/>
          </ac:spMkLst>
        </pc:spChg>
        <pc:spChg chg="mod">
          <ac:chgData name="Jacob, Karen (SPAC/PSPC) (elle-la / she-her)" userId="66e9cce0-e37b-4645-a907-f7690bd68dfb" providerId="ADAL" clId="{A3599A74-B049-44EE-8670-DE420CF3148A}" dt="2024-10-23T19:06:56.131" v="10092" actId="20577"/>
          <ac:spMkLst>
            <pc:docMk/>
            <pc:sldMk cId="2643018674" sldId="5164"/>
            <ac:spMk id="5" creationId="{D0DACE9A-1229-9EEE-A180-51B071D4E977}"/>
          </ac:spMkLst>
        </pc:spChg>
        <pc:spChg chg="add mod">
          <ac:chgData name="Jacob, Karen (SPAC/PSPC) (elle-la / she-her)" userId="66e9cce0-e37b-4645-a907-f7690bd68dfb" providerId="ADAL" clId="{A3599A74-B049-44EE-8670-DE420CF3148A}" dt="2024-10-18T14:51:21.611" v="5465" actId="1035"/>
          <ac:spMkLst>
            <pc:docMk/>
            <pc:sldMk cId="2643018674" sldId="5164"/>
            <ac:spMk id="6" creationId="{C37AB966-CDBE-2C55-3F98-CA62BB152F01}"/>
          </ac:spMkLst>
        </pc:spChg>
        <pc:spChg chg="add mod">
          <ac:chgData name="Jacob, Karen (SPAC/PSPC) (elle-la / she-her)" userId="66e9cce0-e37b-4645-a907-f7690bd68dfb" providerId="ADAL" clId="{A3599A74-B049-44EE-8670-DE420CF3148A}" dt="2024-10-18T14:51:21.611" v="5465" actId="1035"/>
          <ac:spMkLst>
            <pc:docMk/>
            <pc:sldMk cId="2643018674" sldId="5164"/>
            <ac:spMk id="7" creationId="{C62EB4E4-F735-AD30-5AD4-F4E6B822F95C}"/>
          </ac:spMkLst>
        </pc:spChg>
        <pc:spChg chg="add mod">
          <ac:chgData name="Jacob, Karen (SPAC/PSPC) (elle-la / she-her)" userId="66e9cce0-e37b-4645-a907-f7690bd68dfb" providerId="ADAL" clId="{A3599A74-B049-44EE-8670-DE420CF3148A}" dt="2024-10-18T14:51:21.611" v="5465" actId="1035"/>
          <ac:spMkLst>
            <pc:docMk/>
            <pc:sldMk cId="2643018674" sldId="5164"/>
            <ac:spMk id="8" creationId="{44BC3EAC-3980-4F07-943B-6EC20B7A7BDE}"/>
          </ac:spMkLst>
        </pc:spChg>
        <pc:spChg chg="add mod">
          <ac:chgData name="Jacob, Karen (SPAC/PSPC) (elle-la / she-her)" userId="66e9cce0-e37b-4645-a907-f7690bd68dfb" providerId="ADAL" clId="{A3599A74-B049-44EE-8670-DE420CF3148A}" dt="2024-10-18T14:51:21.611" v="5465" actId="1035"/>
          <ac:spMkLst>
            <pc:docMk/>
            <pc:sldMk cId="2643018674" sldId="5164"/>
            <ac:spMk id="9" creationId="{AAE94596-646F-19F0-2DAB-4EB93FB2F7D0}"/>
          </ac:spMkLst>
        </pc:spChg>
        <pc:spChg chg="add mod">
          <ac:chgData name="Jacob, Karen (SPAC/PSPC) (elle-la / she-her)" userId="66e9cce0-e37b-4645-a907-f7690bd68dfb" providerId="ADAL" clId="{A3599A74-B049-44EE-8670-DE420CF3148A}" dt="2024-10-18T14:51:21.611" v="5465" actId="1035"/>
          <ac:spMkLst>
            <pc:docMk/>
            <pc:sldMk cId="2643018674" sldId="5164"/>
            <ac:spMk id="10" creationId="{DB8B833A-09AE-E2B0-B009-6B66BB533DDE}"/>
          </ac:spMkLst>
        </pc:spChg>
        <pc:spChg chg="add mod">
          <ac:chgData name="Jacob, Karen (SPAC/PSPC) (elle-la / she-her)" userId="66e9cce0-e37b-4645-a907-f7690bd68dfb" providerId="ADAL" clId="{A3599A74-B049-44EE-8670-DE420CF3148A}" dt="2024-10-30T19:19:47.685" v="19531" actId="313"/>
          <ac:spMkLst>
            <pc:docMk/>
            <pc:sldMk cId="2643018674" sldId="5164"/>
            <ac:spMk id="12" creationId="{6A3B9CD2-AFBF-BEF4-7CE5-AED963949FAC}"/>
          </ac:spMkLst>
        </pc:spChg>
        <pc:spChg chg="del mod">
          <ac:chgData name="Jacob, Karen (SPAC/PSPC) (elle-la / she-her)" userId="66e9cce0-e37b-4645-a907-f7690bd68dfb" providerId="ADAL" clId="{A3599A74-B049-44EE-8670-DE420CF3148A}" dt="2024-10-18T14:25:25.755" v="4978" actId="478"/>
          <ac:spMkLst>
            <pc:docMk/>
            <pc:sldMk cId="2643018674" sldId="5164"/>
            <ac:spMk id="14" creationId="{046FB493-EF08-FA10-FBE0-60F40D90CFED}"/>
          </ac:spMkLst>
        </pc:spChg>
        <pc:spChg chg="del mod">
          <ac:chgData name="Jacob, Karen (SPAC/PSPC) (elle-la / she-her)" userId="66e9cce0-e37b-4645-a907-f7690bd68dfb" providerId="ADAL" clId="{A3599A74-B049-44EE-8670-DE420CF3148A}" dt="2024-10-18T14:25:17.812" v="4976" actId="478"/>
          <ac:spMkLst>
            <pc:docMk/>
            <pc:sldMk cId="2643018674" sldId="5164"/>
            <ac:spMk id="17" creationId="{6CC185E3-220B-567A-2F6B-C8366D23654B}"/>
          </ac:spMkLst>
        </pc:spChg>
        <pc:spChg chg="del mod topLvl">
          <ac:chgData name="Jacob, Karen (SPAC/PSPC) (elle-la / she-her)" userId="66e9cce0-e37b-4645-a907-f7690bd68dfb" providerId="ADAL" clId="{A3599A74-B049-44EE-8670-DE420CF3148A}" dt="2024-10-18T14:25:28.845" v="4979" actId="478"/>
          <ac:spMkLst>
            <pc:docMk/>
            <pc:sldMk cId="2643018674" sldId="5164"/>
            <ac:spMk id="18" creationId="{004916C5-9EA7-1D4F-E1FF-6F0F6EBCE54C}"/>
          </ac:spMkLst>
        </pc:spChg>
        <pc:spChg chg="del mod">
          <ac:chgData name="Jacob, Karen (SPAC/PSPC) (elle-la / she-her)" userId="66e9cce0-e37b-4645-a907-f7690bd68dfb" providerId="ADAL" clId="{A3599A74-B049-44EE-8670-DE420CF3148A}" dt="2024-10-18T14:25:22.195" v="4977" actId="478"/>
          <ac:spMkLst>
            <pc:docMk/>
            <pc:sldMk cId="2643018674" sldId="5164"/>
            <ac:spMk id="19" creationId="{D2C29C56-AF57-D668-7896-D6A077834000}"/>
          </ac:spMkLst>
        </pc:spChg>
        <pc:spChg chg="mod">
          <ac:chgData name="Jacob, Karen (SPAC/PSPC) (elle-la / she-her)" userId="66e9cce0-e37b-4645-a907-f7690bd68dfb" providerId="ADAL" clId="{A3599A74-B049-44EE-8670-DE420CF3148A}" dt="2024-10-18T14:25:14.272" v="4975"/>
          <ac:spMkLst>
            <pc:docMk/>
            <pc:sldMk cId="2643018674" sldId="5164"/>
            <ac:spMk id="22" creationId="{D584EBA7-CBDB-A407-2BDD-101FF8371B4B}"/>
          </ac:spMkLst>
        </pc:spChg>
        <pc:spChg chg="mod">
          <ac:chgData name="Jacob, Karen (SPAC/PSPC) (elle-la / she-her)" userId="66e9cce0-e37b-4645-a907-f7690bd68dfb" providerId="ADAL" clId="{A3599A74-B049-44EE-8670-DE420CF3148A}" dt="2024-10-18T14:25:14.272" v="4975"/>
          <ac:spMkLst>
            <pc:docMk/>
            <pc:sldMk cId="2643018674" sldId="5164"/>
            <ac:spMk id="24" creationId="{55E0100F-188C-1B9D-8084-05834FD5FF64}"/>
          </ac:spMkLst>
        </pc:spChg>
        <pc:spChg chg="mod">
          <ac:chgData name="Jacob, Karen (SPAC/PSPC) (elle-la / she-her)" userId="66e9cce0-e37b-4645-a907-f7690bd68dfb" providerId="ADAL" clId="{A3599A74-B049-44EE-8670-DE420CF3148A}" dt="2024-10-18T14:25:14.272" v="4975"/>
          <ac:spMkLst>
            <pc:docMk/>
            <pc:sldMk cId="2643018674" sldId="5164"/>
            <ac:spMk id="25" creationId="{7E4519B3-99F1-CC09-4C1F-244341920E23}"/>
          </ac:spMkLst>
        </pc:spChg>
        <pc:spChg chg="mod">
          <ac:chgData name="Jacob, Karen (SPAC/PSPC) (elle-la / she-her)" userId="66e9cce0-e37b-4645-a907-f7690bd68dfb" providerId="ADAL" clId="{A3599A74-B049-44EE-8670-DE420CF3148A}" dt="2024-10-18T14:25:14.272" v="4975"/>
          <ac:spMkLst>
            <pc:docMk/>
            <pc:sldMk cId="2643018674" sldId="5164"/>
            <ac:spMk id="27" creationId="{65E9AD83-F111-1708-33A6-EE8AFE212572}"/>
          </ac:spMkLst>
        </pc:spChg>
        <pc:spChg chg="mod">
          <ac:chgData name="Jacob, Karen (SPAC/PSPC) (elle-la / she-her)" userId="66e9cce0-e37b-4645-a907-f7690bd68dfb" providerId="ADAL" clId="{A3599A74-B049-44EE-8670-DE420CF3148A}" dt="2024-10-18T14:25:14.272" v="4975"/>
          <ac:spMkLst>
            <pc:docMk/>
            <pc:sldMk cId="2643018674" sldId="5164"/>
            <ac:spMk id="28" creationId="{CB36570A-847F-6211-9E8D-F1FC8D86F233}"/>
          </ac:spMkLst>
        </pc:spChg>
        <pc:spChg chg="mod">
          <ac:chgData name="Jacob, Karen (SPAC/PSPC) (elle-la / she-her)" userId="66e9cce0-e37b-4645-a907-f7690bd68dfb" providerId="ADAL" clId="{A3599A74-B049-44EE-8670-DE420CF3148A}" dt="2024-10-18T14:25:14.272" v="4975"/>
          <ac:spMkLst>
            <pc:docMk/>
            <pc:sldMk cId="2643018674" sldId="5164"/>
            <ac:spMk id="29" creationId="{A0E6025E-4C39-C492-A915-0923EEAF50C3}"/>
          </ac:spMkLst>
        </pc:spChg>
        <pc:spChg chg="mod">
          <ac:chgData name="Jacob, Karen (SPAC/PSPC) (elle-la / she-her)" userId="66e9cce0-e37b-4645-a907-f7690bd68dfb" providerId="ADAL" clId="{A3599A74-B049-44EE-8670-DE420CF3148A}" dt="2024-10-18T14:25:14.272" v="4975"/>
          <ac:spMkLst>
            <pc:docMk/>
            <pc:sldMk cId="2643018674" sldId="5164"/>
            <ac:spMk id="30" creationId="{AAAE6B21-C3F0-6199-D232-26038649B816}"/>
          </ac:spMkLst>
        </pc:spChg>
        <pc:spChg chg="mod">
          <ac:chgData name="Jacob, Karen (SPAC/PSPC) (elle-la / she-her)" userId="66e9cce0-e37b-4645-a907-f7690bd68dfb" providerId="ADAL" clId="{A3599A74-B049-44EE-8670-DE420CF3148A}" dt="2024-10-18T14:25:14.272" v="4975"/>
          <ac:spMkLst>
            <pc:docMk/>
            <pc:sldMk cId="2643018674" sldId="5164"/>
            <ac:spMk id="31" creationId="{89E509A3-75F3-8F87-9867-A8DE1833F316}"/>
          </ac:spMkLst>
        </pc:spChg>
        <pc:spChg chg="mod">
          <ac:chgData name="Jacob, Karen (SPAC/PSPC) (elle-la / she-her)" userId="66e9cce0-e37b-4645-a907-f7690bd68dfb" providerId="ADAL" clId="{A3599A74-B049-44EE-8670-DE420CF3148A}" dt="2024-10-18T14:25:14.272" v="4975"/>
          <ac:spMkLst>
            <pc:docMk/>
            <pc:sldMk cId="2643018674" sldId="5164"/>
            <ac:spMk id="32" creationId="{ECF0CEEC-AB10-73F8-FF53-285777A5B406}"/>
          </ac:spMkLst>
        </pc:spChg>
        <pc:spChg chg="mod">
          <ac:chgData name="Jacob, Karen (SPAC/PSPC) (elle-la / she-her)" userId="66e9cce0-e37b-4645-a907-f7690bd68dfb" providerId="ADAL" clId="{A3599A74-B049-44EE-8670-DE420CF3148A}" dt="2024-10-18T14:25:14.272" v="4975"/>
          <ac:spMkLst>
            <pc:docMk/>
            <pc:sldMk cId="2643018674" sldId="5164"/>
            <ac:spMk id="33" creationId="{0FCF7426-61A4-CE77-0571-2803ED7E58A4}"/>
          </ac:spMkLst>
        </pc:spChg>
        <pc:spChg chg="mod">
          <ac:chgData name="Jacob, Karen (SPAC/PSPC) (elle-la / she-her)" userId="66e9cce0-e37b-4645-a907-f7690bd68dfb" providerId="ADAL" clId="{A3599A74-B049-44EE-8670-DE420CF3148A}" dt="2024-10-18T14:25:14.272" v="4975"/>
          <ac:spMkLst>
            <pc:docMk/>
            <pc:sldMk cId="2643018674" sldId="5164"/>
            <ac:spMk id="34" creationId="{FA3BA803-3597-2254-D69E-CD3D12F6567E}"/>
          </ac:spMkLst>
        </pc:spChg>
        <pc:spChg chg="mod">
          <ac:chgData name="Jacob, Karen (SPAC/PSPC) (elle-la / she-her)" userId="66e9cce0-e37b-4645-a907-f7690bd68dfb" providerId="ADAL" clId="{A3599A74-B049-44EE-8670-DE420CF3148A}" dt="2024-10-18T14:25:14.272" v="4975"/>
          <ac:spMkLst>
            <pc:docMk/>
            <pc:sldMk cId="2643018674" sldId="5164"/>
            <ac:spMk id="35" creationId="{93B4F391-5FE1-2DEB-CFAE-4D5EDFFA556E}"/>
          </ac:spMkLst>
        </pc:spChg>
        <pc:spChg chg="mod">
          <ac:chgData name="Jacob, Karen (SPAC/PSPC) (elle-la / she-her)" userId="66e9cce0-e37b-4645-a907-f7690bd68dfb" providerId="ADAL" clId="{A3599A74-B049-44EE-8670-DE420CF3148A}" dt="2024-10-18T14:25:14.272" v="4975"/>
          <ac:spMkLst>
            <pc:docMk/>
            <pc:sldMk cId="2643018674" sldId="5164"/>
            <ac:spMk id="36" creationId="{59532803-71DA-1110-F913-BCDFFF195AA2}"/>
          </ac:spMkLst>
        </pc:spChg>
        <pc:spChg chg="mod">
          <ac:chgData name="Jacob, Karen (SPAC/PSPC) (elle-la / she-her)" userId="66e9cce0-e37b-4645-a907-f7690bd68dfb" providerId="ADAL" clId="{A3599A74-B049-44EE-8670-DE420CF3148A}" dt="2024-10-18T14:25:14.272" v="4975"/>
          <ac:spMkLst>
            <pc:docMk/>
            <pc:sldMk cId="2643018674" sldId="5164"/>
            <ac:spMk id="37" creationId="{94A45180-175A-1288-BEF0-14A28278F207}"/>
          </ac:spMkLst>
        </pc:spChg>
        <pc:spChg chg="mod">
          <ac:chgData name="Jacob, Karen (SPAC/PSPC) (elle-la / she-her)" userId="66e9cce0-e37b-4645-a907-f7690bd68dfb" providerId="ADAL" clId="{A3599A74-B049-44EE-8670-DE420CF3148A}" dt="2024-10-18T14:25:14.272" v="4975"/>
          <ac:spMkLst>
            <pc:docMk/>
            <pc:sldMk cId="2643018674" sldId="5164"/>
            <ac:spMk id="38" creationId="{F54DE717-ED71-3083-7314-4CD9D1EEF68D}"/>
          </ac:spMkLst>
        </pc:spChg>
        <pc:spChg chg="mod">
          <ac:chgData name="Jacob, Karen (SPAC/PSPC) (elle-la / she-her)" userId="66e9cce0-e37b-4645-a907-f7690bd68dfb" providerId="ADAL" clId="{A3599A74-B049-44EE-8670-DE420CF3148A}" dt="2024-10-18T14:25:14.272" v="4975"/>
          <ac:spMkLst>
            <pc:docMk/>
            <pc:sldMk cId="2643018674" sldId="5164"/>
            <ac:spMk id="39" creationId="{0A9CADB0-5230-F233-24FF-594559B7912B}"/>
          </ac:spMkLst>
        </pc:spChg>
        <pc:spChg chg="mod">
          <ac:chgData name="Jacob, Karen (SPAC/PSPC) (elle-la / she-her)" userId="66e9cce0-e37b-4645-a907-f7690bd68dfb" providerId="ADAL" clId="{A3599A74-B049-44EE-8670-DE420CF3148A}" dt="2024-10-18T14:25:14.272" v="4975"/>
          <ac:spMkLst>
            <pc:docMk/>
            <pc:sldMk cId="2643018674" sldId="5164"/>
            <ac:spMk id="40" creationId="{1B407058-991F-EA26-99EE-3547CE642656}"/>
          </ac:spMkLst>
        </pc:spChg>
        <pc:spChg chg="mod">
          <ac:chgData name="Jacob, Karen (SPAC/PSPC) (elle-la / she-her)" userId="66e9cce0-e37b-4645-a907-f7690bd68dfb" providerId="ADAL" clId="{A3599A74-B049-44EE-8670-DE420CF3148A}" dt="2024-10-18T14:25:14.272" v="4975"/>
          <ac:spMkLst>
            <pc:docMk/>
            <pc:sldMk cId="2643018674" sldId="5164"/>
            <ac:spMk id="41" creationId="{E9EE14A2-571E-EE6E-80E4-9E70EE820063}"/>
          </ac:spMkLst>
        </pc:spChg>
        <pc:spChg chg="mod">
          <ac:chgData name="Jacob, Karen (SPAC/PSPC) (elle-la / she-her)" userId="66e9cce0-e37b-4645-a907-f7690bd68dfb" providerId="ADAL" clId="{A3599A74-B049-44EE-8670-DE420CF3148A}" dt="2024-10-18T14:25:14.272" v="4975"/>
          <ac:spMkLst>
            <pc:docMk/>
            <pc:sldMk cId="2643018674" sldId="5164"/>
            <ac:spMk id="42" creationId="{DA1B0F08-AC42-81A8-48B4-A009F9707157}"/>
          </ac:spMkLst>
        </pc:spChg>
        <pc:spChg chg="mod">
          <ac:chgData name="Jacob, Karen (SPAC/PSPC) (elle-la / she-her)" userId="66e9cce0-e37b-4645-a907-f7690bd68dfb" providerId="ADAL" clId="{A3599A74-B049-44EE-8670-DE420CF3148A}" dt="2024-10-18T14:25:14.272" v="4975"/>
          <ac:spMkLst>
            <pc:docMk/>
            <pc:sldMk cId="2643018674" sldId="5164"/>
            <ac:spMk id="43" creationId="{06E350D4-531C-9E88-E71B-AD07ED026359}"/>
          </ac:spMkLst>
        </pc:spChg>
        <pc:spChg chg="mod">
          <ac:chgData name="Jacob, Karen (SPAC/PSPC) (elle-la / she-her)" userId="66e9cce0-e37b-4645-a907-f7690bd68dfb" providerId="ADAL" clId="{A3599A74-B049-44EE-8670-DE420CF3148A}" dt="2024-10-18T14:25:14.272" v="4975"/>
          <ac:spMkLst>
            <pc:docMk/>
            <pc:sldMk cId="2643018674" sldId="5164"/>
            <ac:spMk id="44" creationId="{E1A37DB1-37E6-480D-F6A3-4B4B43F9EED5}"/>
          </ac:spMkLst>
        </pc:spChg>
        <pc:spChg chg="mod">
          <ac:chgData name="Jacob, Karen (SPAC/PSPC) (elle-la / she-her)" userId="66e9cce0-e37b-4645-a907-f7690bd68dfb" providerId="ADAL" clId="{A3599A74-B049-44EE-8670-DE420CF3148A}" dt="2024-10-18T14:25:14.272" v="4975"/>
          <ac:spMkLst>
            <pc:docMk/>
            <pc:sldMk cId="2643018674" sldId="5164"/>
            <ac:spMk id="45" creationId="{4B8B2B05-931F-4821-C654-43809A0C6398}"/>
          </ac:spMkLst>
        </pc:spChg>
        <pc:spChg chg="mod">
          <ac:chgData name="Jacob, Karen (SPAC/PSPC) (elle-la / she-her)" userId="66e9cce0-e37b-4645-a907-f7690bd68dfb" providerId="ADAL" clId="{A3599A74-B049-44EE-8670-DE420CF3148A}" dt="2024-10-18T14:25:14.272" v="4975"/>
          <ac:spMkLst>
            <pc:docMk/>
            <pc:sldMk cId="2643018674" sldId="5164"/>
            <ac:spMk id="46" creationId="{E05CDB04-758F-A16E-0C7C-81482A944D84}"/>
          </ac:spMkLst>
        </pc:spChg>
        <pc:spChg chg="mod">
          <ac:chgData name="Jacob, Karen (SPAC/PSPC) (elle-la / she-her)" userId="66e9cce0-e37b-4645-a907-f7690bd68dfb" providerId="ADAL" clId="{A3599A74-B049-44EE-8670-DE420CF3148A}" dt="2024-10-18T14:25:14.272" v="4975"/>
          <ac:spMkLst>
            <pc:docMk/>
            <pc:sldMk cId="2643018674" sldId="5164"/>
            <ac:spMk id="47" creationId="{41D15CB2-0185-C50E-B34A-7DC9BAFEC86E}"/>
          </ac:spMkLst>
        </pc:spChg>
        <pc:spChg chg="mod">
          <ac:chgData name="Jacob, Karen (SPAC/PSPC) (elle-la / she-her)" userId="66e9cce0-e37b-4645-a907-f7690bd68dfb" providerId="ADAL" clId="{A3599A74-B049-44EE-8670-DE420CF3148A}" dt="2024-10-18T14:25:14.272" v="4975"/>
          <ac:spMkLst>
            <pc:docMk/>
            <pc:sldMk cId="2643018674" sldId="5164"/>
            <ac:spMk id="48" creationId="{75E7B4C9-F60F-E60D-1203-37883966A6FD}"/>
          </ac:spMkLst>
        </pc:spChg>
        <pc:spChg chg="mod">
          <ac:chgData name="Jacob, Karen (SPAC/PSPC) (elle-la / she-her)" userId="66e9cce0-e37b-4645-a907-f7690bd68dfb" providerId="ADAL" clId="{A3599A74-B049-44EE-8670-DE420CF3148A}" dt="2024-10-18T14:25:14.272" v="4975"/>
          <ac:spMkLst>
            <pc:docMk/>
            <pc:sldMk cId="2643018674" sldId="5164"/>
            <ac:spMk id="49" creationId="{467CA39C-152F-D143-16E6-F0AEBF1F0EF6}"/>
          </ac:spMkLst>
        </pc:spChg>
        <pc:spChg chg="mod">
          <ac:chgData name="Jacob, Karen (SPAC/PSPC) (elle-la / she-her)" userId="66e9cce0-e37b-4645-a907-f7690bd68dfb" providerId="ADAL" clId="{A3599A74-B049-44EE-8670-DE420CF3148A}" dt="2024-10-18T14:25:14.272" v="4975"/>
          <ac:spMkLst>
            <pc:docMk/>
            <pc:sldMk cId="2643018674" sldId="5164"/>
            <ac:spMk id="50" creationId="{169AFF5D-67CE-AA9F-C71D-910F3D59E065}"/>
          </ac:spMkLst>
        </pc:spChg>
        <pc:spChg chg="mod">
          <ac:chgData name="Jacob, Karen (SPAC/PSPC) (elle-la / she-her)" userId="66e9cce0-e37b-4645-a907-f7690bd68dfb" providerId="ADAL" clId="{A3599A74-B049-44EE-8670-DE420CF3148A}" dt="2024-10-18T14:25:14.272" v="4975"/>
          <ac:spMkLst>
            <pc:docMk/>
            <pc:sldMk cId="2643018674" sldId="5164"/>
            <ac:spMk id="51" creationId="{17644F83-71B6-9560-AF3E-09A8872C809B}"/>
          </ac:spMkLst>
        </pc:spChg>
        <pc:spChg chg="mod">
          <ac:chgData name="Jacob, Karen (SPAC/PSPC) (elle-la / she-her)" userId="66e9cce0-e37b-4645-a907-f7690bd68dfb" providerId="ADAL" clId="{A3599A74-B049-44EE-8670-DE420CF3148A}" dt="2024-10-18T14:25:14.272" v="4975"/>
          <ac:spMkLst>
            <pc:docMk/>
            <pc:sldMk cId="2643018674" sldId="5164"/>
            <ac:spMk id="52" creationId="{D9375901-672F-F732-57F8-D153D824344D}"/>
          </ac:spMkLst>
        </pc:spChg>
        <pc:spChg chg="mod">
          <ac:chgData name="Jacob, Karen (SPAC/PSPC) (elle-la / she-her)" userId="66e9cce0-e37b-4645-a907-f7690bd68dfb" providerId="ADAL" clId="{A3599A74-B049-44EE-8670-DE420CF3148A}" dt="2024-10-18T14:25:14.272" v="4975"/>
          <ac:spMkLst>
            <pc:docMk/>
            <pc:sldMk cId="2643018674" sldId="5164"/>
            <ac:spMk id="53" creationId="{B9F6722B-6928-3A6A-BBB8-231A8B9E3259}"/>
          </ac:spMkLst>
        </pc:spChg>
        <pc:spChg chg="mod">
          <ac:chgData name="Jacob, Karen (SPAC/PSPC) (elle-la / she-her)" userId="66e9cce0-e37b-4645-a907-f7690bd68dfb" providerId="ADAL" clId="{A3599A74-B049-44EE-8670-DE420CF3148A}" dt="2024-10-18T14:25:14.272" v="4975"/>
          <ac:spMkLst>
            <pc:docMk/>
            <pc:sldMk cId="2643018674" sldId="5164"/>
            <ac:spMk id="54" creationId="{15F08EEC-C863-3F61-556F-64BE7ED31590}"/>
          </ac:spMkLst>
        </pc:spChg>
        <pc:spChg chg="mod">
          <ac:chgData name="Jacob, Karen (SPAC/PSPC) (elle-la / she-her)" userId="66e9cce0-e37b-4645-a907-f7690bd68dfb" providerId="ADAL" clId="{A3599A74-B049-44EE-8670-DE420CF3148A}" dt="2024-10-18T14:25:14.272" v="4975"/>
          <ac:spMkLst>
            <pc:docMk/>
            <pc:sldMk cId="2643018674" sldId="5164"/>
            <ac:spMk id="55" creationId="{731C5ADA-D8AA-6942-B963-257CD97AA0F9}"/>
          </ac:spMkLst>
        </pc:spChg>
        <pc:spChg chg="mod">
          <ac:chgData name="Jacob, Karen (SPAC/PSPC) (elle-la / she-her)" userId="66e9cce0-e37b-4645-a907-f7690bd68dfb" providerId="ADAL" clId="{A3599A74-B049-44EE-8670-DE420CF3148A}" dt="2024-10-18T14:25:14.272" v="4975"/>
          <ac:spMkLst>
            <pc:docMk/>
            <pc:sldMk cId="2643018674" sldId="5164"/>
            <ac:spMk id="56" creationId="{6C95EF8D-478B-B864-D6F8-128D10DBE16A}"/>
          </ac:spMkLst>
        </pc:spChg>
        <pc:spChg chg="mod">
          <ac:chgData name="Jacob, Karen (SPAC/PSPC) (elle-la / she-her)" userId="66e9cce0-e37b-4645-a907-f7690bd68dfb" providerId="ADAL" clId="{A3599A74-B049-44EE-8670-DE420CF3148A}" dt="2024-10-18T14:25:14.272" v="4975"/>
          <ac:spMkLst>
            <pc:docMk/>
            <pc:sldMk cId="2643018674" sldId="5164"/>
            <ac:spMk id="57" creationId="{816207AB-4332-E282-4740-48B60179E40B}"/>
          </ac:spMkLst>
        </pc:spChg>
        <pc:spChg chg="mod">
          <ac:chgData name="Jacob, Karen (SPAC/PSPC) (elle-la / she-her)" userId="66e9cce0-e37b-4645-a907-f7690bd68dfb" providerId="ADAL" clId="{A3599A74-B049-44EE-8670-DE420CF3148A}" dt="2024-10-18T14:25:14.272" v="4975"/>
          <ac:spMkLst>
            <pc:docMk/>
            <pc:sldMk cId="2643018674" sldId="5164"/>
            <ac:spMk id="58" creationId="{DCF93223-AC8F-F71A-B2CD-96C59C41CF86}"/>
          </ac:spMkLst>
        </pc:spChg>
        <pc:spChg chg="mod">
          <ac:chgData name="Jacob, Karen (SPAC/PSPC) (elle-la / she-her)" userId="66e9cce0-e37b-4645-a907-f7690bd68dfb" providerId="ADAL" clId="{A3599A74-B049-44EE-8670-DE420CF3148A}" dt="2024-10-18T14:25:14.272" v="4975"/>
          <ac:spMkLst>
            <pc:docMk/>
            <pc:sldMk cId="2643018674" sldId="5164"/>
            <ac:spMk id="59" creationId="{EA713421-7FA7-25D0-032C-C974F1F3841F}"/>
          </ac:spMkLst>
        </pc:spChg>
        <pc:spChg chg="mod">
          <ac:chgData name="Jacob, Karen (SPAC/PSPC) (elle-la / she-her)" userId="66e9cce0-e37b-4645-a907-f7690bd68dfb" providerId="ADAL" clId="{A3599A74-B049-44EE-8670-DE420CF3148A}" dt="2024-10-18T14:25:14.272" v="4975"/>
          <ac:spMkLst>
            <pc:docMk/>
            <pc:sldMk cId="2643018674" sldId="5164"/>
            <ac:spMk id="60" creationId="{8A37BC0E-C32F-FF48-941E-D60AD0227F5D}"/>
          </ac:spMkLst>
        </pc:spChg>
        <pc:spChg chg="mod">
          <ac:chgData name="Jacob, Karen (SPAC/PSPC) (elle-la / she-her)" userId="66e9cce0-e37b-4645-a907-f7690bd68dfb" providerId="ADAL" clId="{A3599A74-B049-44EE-8670-DE420CF3148A}" dt="2024-10-18T14:25:14.272" v="4975"/>
          <ac:spMkLst>
            <pc:docMk/>
            <pc:sldMk cId="2643018674" sldId="5164"/>
            <ac:spMk id="61" creationId="{3CC2548D-A9D4-809D-5138-69D680046072}"/>
          </ac:spMkLst>
        </pc:spChg>
        <pc:spChg chg="mod">
          <ac:chgData name="Jacob, Karen (SPAC/PSPC) (elle-la / she-her)" userId="66e9cce0-e37b-4645-a907-f7690bd68dfb" providerId="ADAL" clId="{A3599A74-B049-44EE-8670-DE420CF3148A}" dt="2024-10-18T14:25:14.272" v="4975"/>
          <ac:spMkLst>
            <pc:docMk/>
            <pc:sldMk cId="2643018674" sldId="5164"/>
            <ac:spMk id="62" creationId="{308C2919-034B-E990-F46C-54F7529BB2C5}"/>
          </ac:spMkLst>
        </pc:spChg>
        <pc:spChg chg="mod">
          <ac:chgData name="Jacob, Karen (SPAC/PSPC) (elle-la / she-her)" userId="66e9cce0-e37b-4645-a907-f7690bd68dfb" providerId="ADAL" clId="{A3599A74-B049-44EE-8670-DE420CF3148A}" dt="2024-10-18T14:25:14.272" v="4975"/>
          <ac:spMkLst>
            <pc:docMk/>
            <pc:sldMk cId="2643018674" sldId="5164"/>
            <ac:spMk id="63" creationId="{DA5F4491-E61A-07F2-0208-60274B9E6707}"/>
          </ac:spMkLst>
        </pc:spChg>
        <pc:spChg chg="mod">
          <ac:chgData name="Jacob, Karen (SPAC/PSPC) (elle-la / she-her)" userId="66e9cce0-e37b-4645-a907-f7690bd68dfb" providerId="ADAL" clId="{A3599A74-B049-44EE-8670-DE420CF3148A}" dt="2024-10-18T14:25:14.272" v="4975"/>
          <ac:spMkLst>
            <pc:docMk/>
            <pc:sldMk cId="2643018674" sldId="5164"/>
            <ac:spMk id="64" creationId="{07095B1B-CF08-8CAF-A324-30985537A043}"/>
          </ac:spMkLst>
        </pc:spChg>
        <pc:spChg chg="mod">
          <ac:chgData name="Jacob, Karen (SPAC/PSPC) (elle-la / she-her)" userId="66e9cce0-e37b-4645-a907-f7690bd68dfb" providerId="ADAL" clId="{A3599A74-B049-44EE-8670-DE420CF3148A}" dt="2024-10-18T14:25:14.272" v="4975"/>
          <ac:spMkLst>
            <pc:docMk/>
            <pc:sldMk cId="2643018674" sldId="5164"/>
            <ac:spMk id="65" creationId="{63DCCFF5-A839-38FB-1D37-132A92D472C1}"/>
          </ac:spMkLst>
        </pc:spChg>
        <pc:spChg chg="mod">
          <ac:chgData name="Jacob, Karen (SPAC/PSPC) (elle-la / she-her)" userId="66e9cce0-e37b-4645-a907-f7690bd68dfb" providerId="ADAL" clId="{A3599A74-B049-44EE-8670-DE420CF3148A}" dt="2024-10-18T14:25:14.272" v="4975"/>
          <ac:spMkLst>
            <pc:docMk/>
            <pc:sldMk cId="2643018674" sldId="5164"/>
            <ac:spMk id="66" creationId="{244FED0A-5548-C9BD-83C4-8A71A61A4405}"/>
          </ac:spMkLst>
        </pc:spChg>
        <pc:spChg chg="mod">
          <ac:chgData name="Jacob, Karen (SPAC/PSPC) (elle-la / she-her)" userId="66e9cce0-e37b-4645-a907-f7690bd68dfb" providerId="ADAL" clId="{A3599A74-B049-44EE-8670-DE420CF3148A}" dt="2024-10-18T14:25:14.272" v="4975"/>
          <ac:spMkLst>
            <pc:docMk/>
            <pc:sldMk cId="2643018674" sldId="5164"/>
            <ac:spMk id="67" creationId="{B1258444-2B11-A1B0-2A18-A67A25E28034}"/>
          </ac:spMkLst>
        </pc:spChg>
        <pc:spChg chg="mod">
          <ac:chgData name="Jacob, Karen (SPAC/PSPC) (elle-la / she-her)" userId="66e9cce0-e37b-4645-a907-f7690bd68dfb" providerId="ADAL" clId="{A3599A74-B049-44EE-8670-DE420CF3148A}" dt="2024-10-18T14:25:14.272" v="4975"/>
          <ac:spMkLst>
            <pc:docMk/>
            <pc:sldMk cId="2643018674" sldId="5164"/>
            <ac:spMk id="68" creationId="{AF06FDE0-3596-1A96-94A8-B82FAFB78ACC}"/>
          </ac:spMkLst>
        </pc:spChg>
        <pc:spChg chg="mod">
          <ac:chgData name="Jacob, Karen (SPAC/PSPC) (elle-la / she-her)" userId="66e9cce0-e37b-4645-a907-f7690bd68dfb" providerId="ADAL" clId="{A3599A74-B049-44EE-8670-DE420CF3148A}" dt="2024-10-18T14:25:35.257" v="4980" actId="14100"/>
          <ac:spMkLst>
            <pc:docMk/>
            <pc:sldMk cId="2643018674" sldId="5164"/>
            <ac:spMk id="69" creationId="{F4A13062-53F2-6F84-B496-2634DB2E87AF}"/>
          </ac:spMkLst>
        </pc:spChg>
        <pc:spChg chg="add mod">
          <ac:chgData name="Jacob, Karen (SPAC/PSPC) (elle-la / she-her)" userId="66e9cce0-e37b-4645-a907-f7690bd68dfb" providerId="ADAL" clId="{A3599A74-B049-44EE-8670-DE420CF3148A}" dt="2024-10-18T14:51:21.611" v="5465" actId="1035"/>
          <ac:spMkLst>
            <pc:docMk/>
            <pc:sldMk cId="2643018674" sldId="5164"/>
            <ac:spMk id="70" creationId="{48FE0CE4-8128-A030-4177-E94AA3CC9B94}"/>
          </ac:spMkLst>
        </pc:spChg>
        <pc:spChg chg="add mod ord">
          <ac:chgData name="Jacob, Karen (SPAC/PSPC) (elle-la / she-her)" userId="66e9cce0-e37b-4645-a907-f7690bd68dfb" providerId="ADAL" clId="{A3599A74-B049-44EE-8670-DE420CF3148A}" dt="2024-10-18T14:45:34.203" v="5346" actId="167"/>
          <ac:spMkLst>
            <pc:docMk/>
            <pc:sldMk cId="2643018674" sldId="5164"/>
            <ac:spMk id="71" creationId="{7028C89E-7266-12B8-5E10-8C399FCFA7CF}"/>
          </ac:spMkLst>
        </pc:spChg>
        <pc:grpChg chg="add del mod">
          <ac:chgData name="Jacob, Karen (SPAC/PSPC) (elle-la / she-her)" userId="66e9cce0-e37b-4645-a907-f7690bd68dfb" providerId="ADAL" clId="{A3599A74-B049-44EE-8670-DE420CF3148A}" dt="2024-10-18T14:25:28.845" v="4979" actId="478"/>
          <ac:grpSpMkLst>
            <pc:docMk/>
            <pc:sldMk cId="2643018674" sldId="5164"/>
            <ac:grpSpMk id="13" creationId="{722AAF86-BCBD-ABDE-792E-9ABE8D148382}"/>
          </ac:grpSpMkLst>
        </pc:grpChg>
        <pc:grpChg chg="mod topLvl">
          <ac:chgData name="Jacob, Karen (SPAC/PSPC) (elle-la / she-her)" userId="66e9cce0-e37b-4645-a907-f7690bd68dfb" providerId="ADAL" clId="{A3599A74-B049-44EE-8670-DE420CF3148A}" dt="2024-10-18T14:51:21.611" v="5465" actId="1035"/>
          <ac:grpSpMkLst>
            <pc:docMk/>
            <pc:sldMk cId="2643018674" sldId="5164"/>
            <ac:grpSpMk id="15" creationId="{8DA5BD1B-687F-A8E9-DD81-60E314CBA84F}"/>
          </ac:grpSpMkLst>
        </pc:grpChg>
        <pc:grpChg chg="del mod">
          <ac:chgData name="Jacob, Karen (SPAC/PSPC) (elle-la / she-her)" userId="66e9cce0-e37b-4645-a907-f7690bd68dfb" providerId="ADAL" clId="{A3599A74-B049-44EE-8670-DE420CF3148A}" dt="2024-10-18T14:25:22.195" v="4977" actId="478"/>
          <ac:grpSpMkLst>
            <pc:docMk/>
            <pc:sldMk cId="2643018674" sldId="5164"/>
            <ac:grpSpMk id="16" creationId="{754B4378-81FD-53DB-4CF1-9B571CDE24A3}"/>
          </ac:grpSpMkLst>
        </pc:grpChg>
        <pc:grpChg chg="mod">
          <ac:chgData name="Jacob, Karen (SPAC/PSPC) (elle-la / she-her)" userId="66e9cce0-e37b-4645-a907-f7690bd68dfb" providerId="ADAL" clId="{A3599A74-B049-44EE-8670-DE420CF3148A}" dt="2024-10-18T14:25:14.272" v="4975"/>
          <ac:grpSpMkLst>
            <pc:docMk/>
            <pc:sldMk cId="2643018674" sldId="5164"/>
            <ac:grpSpMk id="20" creationId="{54E522D1-3F15-F04A-701F-5DBD60C54904}"/>
          </ac:grpSpMkLst>
        </pc:grpChg>
        <pc:grpChg chg="mod">
          <ac:chgData name="Jacob, Karen (SPAC/PSPC) (elle-la / she-her)" userId="66e9cce0-e37b-4645-a907-f7690bd68dfb" providerId="ADAL" clId="{A3599A74-B049-44EE-8670-DE420CF3148A}" dt="2024-10-18T14:25:14.272" v="4975"/>
          <ac:grpSpMkLst>
            <pc:docMk/>
            <pc:sldMk cId="2643018674" sldId="5164"/>
            <ac:grpSpMk id="23" creationId="{B8E6D17F-0D88-177F-E5AD-B28E2F12C9BC}"/>
          </ac:grpSpMkLst>
        </pc:grpChg>
        <pc:grpChg chg="mod">
          <ac:chgData name="Jacob, Karen (SPAC/PSPC) (elle-la / she-her)" userId="66e9cce0-e37b-4645-a907-f7690bd68dfb" providerId="ADAL" clId="{A3599A74-B049-44EE-8670-DE420CF3148A}" dt="2024-10-18T14:25:14.272" v="4975"/>
          <ac:grpSpMkLst>
            <pc:docMk/>
            <pc:sldMk cId="2643018674" sldId="5164"/>
            <ac:grpSpMk id="26" creationId="{FCB437F6-4474-3C14-9F73-750B80249742}"/>
          </ac:grpSpMkLst>
        </pc:grpChg>
        <pc:picChg chg="mod">
          <ac:chgData name="Jacob, Karen (SPAC/PSPC) (elle-la / she-her)" userId="66e9cce0-e37b-4645-a907-f7690bd68dfb" providerId="ADAL" clId="{A3599A74-B049-44EE-8670-DE420CF3148A}" dt="2024-10-18T14:25:14.272" v="4975"/>
          <ac:picMkLst>
            <pc:docMk/>
            <pc:sldMk cId="2643018674" sldId="5164"/>
            <ac:picMk id="21" creationId="{6B2FB0C5-D6D6-09C9-323E-524BDA1F9AE2}"/>
          </ac:picMkLst>
        </pc:pic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A3599A74-B049-44EE-8670-DE420CF3148A}" dt="2024-10-30T19:19:47.685" v="19531" actId="313"/>
              <pc2:cmMkLst xmlns:pc2="http://schemas.microsoft.com/office/powerpoint/2019/9/main/command">
                <pc:docMk/>
                <pc:sldMk cId="2643018674" sldId="5164"/>
                <pc2:cmMk id="{7F132811-33D1-4F42-BA40-C42C7B67BD9D}"/>
              </pc2:cmMkLst>
              <pc226:cmRplyChg chg="add mod">
                <pc226:chgData name="Jacob, Karen (SPAC/PSPC) (elle-la / she-her)" userId="66e9cce0-e37b-4645-a907-f7690bd68dfb" providerId="ADAL" clId="{A3599A74-B049-44EE-8670-DE420CF3148A}" dt="2024-10-23T19:19:04.528" v="11575"/>
                <pc2:cmRplyMkLst xmlns:pc2="http://schemas.microsoft.com/office/powerpoint/2019/9/main/command">
                  <pc:docMk/>
                  <pc:sldMk cId="2643018674" sldId="5164"/>
                  <pc2:cmMk id="{7F132811-33D1-4F42-BA40-C42C7B67BD9D}"/>
                  <pc2:cmRplyMk id="{5F67F788-276F-4B80-B272-BF70D163452A}"/>
                </pc2:cmRplyMkLst>
              </pc226:cmRplyChg>
            </pc226:cmChg>
          </p:ext>
        </pc:extLst>
      </pc:sldChg>
      <pc:sldChg chg="add del">
        <pc:chgData name="Jacob, Karen (SPAC/PSPC) (elle-la / she-her)" userId="66e9cce0-e37b-4645-a907-f7690bd68dfb" providerId="ADAL" clId="{A3599A74-B049-44EE-8670-DE420CF3148A}" dt="2024-10-18T14:02:48.322" v="4835" actId="47"/>
        <pc:sldMkLst>
          <pc:docMk/>
          <pc:sldMk cId="2356740885" sldId="5165"/>
        </pc:sldMkLst>
      </pc:sldChg>
      <pc:sldChg chg="addSp delSp modSp add mod">
        <pc:chgData name="Jacob, Karen (SPAC/PSPC) (elle-la / she-her)" userId="66e9cce0-e37b-4645-a907-f7690bd68dfb" providerId="ADAL" clId="{A3599A74-B049-44EE-8670-DE420CF3148A}" dt="2024-10-18T18:25:02.190" v="7890" actId="1076"/>
        <pc:sldMkLst>
          <pc:docMk/>
          <pc:sldMk cId="951449358" sldId="5166"/>
        </pc:sldMkLst>
        <pc:spChg chg="mod">
          <ac:chgData name="Jacob, Karen (SPAC/PSPC) (elle-la / she-her)" userId="66e9cce0-e37b-4645-a907-f7690bd68dfb" providerId="ADAL" clId="{A3599A74-B049-44EE-8670-DE420CF3148A}" dt="2024-10-18T18:25:02.190" v="7890" actId="1076"/>
          <ac:spMkLst>
            <pc:docMk/>
            <pc:sldMk cId="951449358" sldId="5166"/>
            <ac:spMk id="3" creationId="{41BE6B50-88EB-D2A5-67D3-AD36A9027E26}"/>
          </ac:spMkLst>
        </pc:spChg>
        <pc:spChg chg="del">
          <ac:chgData name="Jacob, Karen (SPAC/PSPC) (elle-la / she-her)" userId="66e9cce0-e37b-4645-a907-f7690bd68dfb" providerId="ADAL" clId="{A3599A74-B049-44EE-8670-DE420CF3148A}" dt="2024-10-18T14:44:25.950" v="5317" actId="478"/>
          <ac:spMkLst>
            <pc:docMk/>
            <pc:sldMk cId="951449358" sldId="5166"/>
            <ac:spMk id="4" creationId="{630D77A7-4E8E-7081-F0AC-4F3053A49FAC}"/>
          </ac:spMkLst>
        </pc:spChg>
        <pc:spChg chg="del">
          <ac:chgData name="Jacob, Karen (SPAC/PSPC) (elle-la / she-her)" userId="66e9cce0-e37b-4645-a907-f7690bd68dfb" providerId="ADAL" clId="{A3599A74-B049-44EE-8670-DE420CF3148A}" dt="2024-10-18T12:39:57.387" v="4253" actId="478"/>
          <ac:spMkLst>
            <pc:docMk/>
            <pc:sldMk cId="951449358" sldId="5166"/>
            <ac:spMk id="5" creationId="{D0DACE9A-1229-9EEE-A180-51B071D4E977}"/>
          </ac:spMkLst>
        </pc:spChg>
        <pc:spChg chg="mod">
          <ac:chgData name="Jacob, Karen (SPAC/PSPC) (elle-la / she-her)" userId="66e9cce0-e37b-4645-a907-f7690bd68dfb" providerId="ADAL" clId="{A3599A74-B049-44EE-8670-DE420CF3148A}" dt="2024-10-18T14:44:53.247" v="5338" actId="1035"/>
          <ac:spMkLst>
            <pc:docMk/>
            <pc:sldMk cId="951449358" sldId="5166"/>
            <ac:spMk id="7" creationId="{DF1B54B1-FDC7-272E-ACD2-429233288AAA}"/>
          </ac:spMkLst>
        </pc:spChg>
        <pc:spChg chg="mod">
          <ac:chgData name="Jacob, Karen (SPAC/PSPC) (elle-la / she-her)" userId="66e9cce0-e37b-4645-a907-f7690bd68dfb" providerId="ADAL" clId="{A3599A74-B049-44EE-8670-DE420CF3148A}" dt="2024-10-18T14:44:53.247" v="5338" actId="1035"/>
          <ac:spMkLst>
            <pc:docMk/>
            <pc:sldMk cId="951449358" sldId="5166"/>
            <ac:spMk id="8" creationId="{33327C22-3B62-383E-8C0F-5910728BA2F8}"/>
          </ac:spMkLst>
        </pc:spChg>
        <pc:spChg chg="mod">
          <ac:chgData name="Jacob, Karen (SPAC/PSPC) (elle-la / she-her)" userId="66e9cce0-e37b-4645-a907-f7690bd68dfb" providerId="ADAL" clId="{A3599A74-B049-44EE-8670-DE420CF3148A}" dt="2024-10-18T14:44:53.247" v="5338" actId="1035"/>
          <ac:spMkLst>
            <pc:docMk/>
            <pc:sldMk cId="951449358" sldId="5166"/>
            <ac:spMk id="9" creationId="{BEF3A216-9A22-0368-8CF4-1C7173CCA6B6}"/>
          </ac:spMkLst>
        </pc:spChg>
        <pc:spChg chg="mod">
          <ac:chgData name="Jacob, Karen (SPAC/PSPC) (elle-la / she-her)" userId="66e9cce0-e37b-4645-a907-f7690bd68dfb" providerId="ADAL" clId="{A3599A74-B049-44EE-8670-DE420CF3148A}" dt="2024-10-18T14:44:53.247" v="5338" actId="1035"/>
          <ac:spMkLst>
            <pc:docMk/>
            <pc:sldMk cId="951449358" sldId="5166"/>
            <ac:spMk id="10" creationId="{924FC582-7982-B973-AF78-F42BE18EFCE6}"/>
          </ac:spMkLst>
        </pc:spChg>
        <pc:spChg chg="mod">
          <ac:chgData name="Jacob, Karen (SPAC/PSPC) (elle-la / she-her)" userId="66e9cce0-e37b-4645-a907-f7690bd68dfb" providerId="ADAL" clId="{A3599A74-B049-44EE-8670-DE420CF3148A}" dt="2024-10-18T14:44:53.247" v="5338" actId="1035"/>
          <ac:spMkLst>
            <pc:docMk/>
            <pc:sldMk cId="951449358" sldId="5166"/>
            <ac:spMk id="11" creationId="{7FAB6D7A-2579-7F4E-E1F9-1C892DC4A1AB}"/>
          </ac:spMkLst>
        </pc:spChg>
        <pc:spChg chg="add mod">
          <ac:chgData name="Jacob, Karen (SPAC/PSPC) (elle-la / she-her)" userId="66e9cce0-e37b-4645-a907-f7690bd68dfb" providerId="ADAL" clId="{A3599A74-B049-44EE-8670-DE420CF3148A}" dt="2024-10-18T14:44:53.247" v="5338" actId="1035"/>
          <ac:spMkLst>
            <pc:docMk/>
            <pc:sldMk cId="951449358" sldId="5166"/>
            <ac:spMk id="12" creationId="{B5E05B46-CF1C-10E8-CF27-43FD5B4CD2B6}"/>
          </ac:spMkLst>
        </pc:spChg>
        <pc:spChg chg="add mod">
          <ac:chgData name="Jacob, Karen (SPAC/PSPC) (elle-la / she-her)" userId="66e9cce0-e37b-4645-a907-f7690bd68dfb" providerId="ADAL" clId="{A3599A74-B049-44EE-8670-DE420CF3148A}" dt="2024-10-18T14:51:40.700" v="5467" actId="790"/>
          <ac:spMkLst>
            <pc:docMk/>
            <pc:sldMk cId="951449358" sldId="5166"/>
            <ac:spMk id="13" creationId="{24D3B48C-3E45-5072-0313-084DCF56D01C}"/>
          </ac:spMkLst>
        </pc:spChg>
        <pc:spChg chg="add mod">
          <ac:chgData name="Jacob, Karen (SPAC/PSPC) (elle-la / she-her)" userId="66e9cce0-e37b-4645-a907-f7690bd68dfb" providerId="ADAL" clId="{A3599A74-B049-44EE-8670-DE420CF3148A}" dt="2024-10-18T14:44:53.247" v="5338" actId="1035"/>
          <ac:spMkLst>
            <pc:docMk/>
            <pc:sldMk cId="951449358" sldId="5166"/>
            <ac:spMk id="14" creationId="{D8AE10C8-3898-213E-7C33-47F8EE2CB0CA}"/>
          </ac:spMkLst>
        </pc:spChg>
        <pc:spChg chg="add mod">
          <ac:chgData name="Jacob, Karen (SPAC/PSPC) (elle-la / she-her)" userId="66e9cce0-e37b-4645-a907-f7690bd68dfb" providerId="ADAL" clId="{A3599A74-B049-44EE-8670-DE420CF3148A}" dt="2024-10-18T14:44:53.247" v="5338" actId="1035"/>
          <ac:spMkLst>
            <pc:docMk/>
            <pc:sldMk cId="951449358" sldId="5166"/>
            <ac:spMk id="15" creationId="{250D293B-CD7C-D21D-0290-87DD62438189}"/>
          </ac:spMkLst>
        </pc:spChg>
        <pc:spChg chg="add mod">
          <ac:chgData name="Jacob, Karen (SPAC/PSPC) (elle-la / she-her)" userId="66e9cce0-e37b-4645-a907-f7690bd68dfb" providerId="ADAL" clId="{A3599A74-B049-44EE-8670-DE420CF3148A}" dt="2024-10-18T14:44:53.247" v="5338" actId="1035"/>
          <ac:spMkLst>
            <pc:docMk/>
            <pc:sldMk cId="951449358" sldId="5166"/>
            <ac:spMk id="16" creationId="{491B984F-4AFE-70B5-52DF-3AC5E21CC468}"/>
          </ac:spMkLst>
        </pc:spChg>
        <pc:spChg chg="add mod">
          <ac:chgData name="Jacob, Karen (SPAC/PSPC) (elle-la / she-her)" userId="66e9cce0-e37b-4645-a907-f7690bd68dfb" providerId="ADAL" clId="{A3599A74-B049-44EE-8670-DE420CF3148A}" dt="2024-10-18T14:44:53.247" v="5338" actId="1035"/>
          <ac:spMkLst>
            <pc:docMk/>
            <pc:sldMk cId="951449358" sldId="5166"/>
            <ac:spMk id="19" creationId="{F04B82CF-8286-8190-4CBE-7BDA4BB27B00}"/>
          </ac:spMkLst>
        </pc:spChg>
        <pc:spChg chg="mod">
          <ac:chgData name="Jacob, Karen (SPAC/PSPC) (elle-la / she-her)" userId="66e9cce0-e37b-4645-a907-f7690bd68dfb" providerId="ADAL" clId="{A3599A74-B049-44EE-8670-DE420CF3148A}" dt="2024-10-18T14:44:53.247" v="5338" actId="1035"/>
          <ac:spMkLst>
            <pc:docMk/>
            <pc:sldMk cId="951449358" sldId="5166"/>
            <ac:spMk id="21" creationId="{F9A80AC9-F28F-76B1-5684-C481593D7723}"/>
          </ac:spMkLst>
        </pc:spChg>
        <pc:spChg chg="mod">
          <ac:chgData name="Jacob, Karen (SPAC/PSPC) (elle-la / she-her)" userId="66e9cce0-e37b-4645-a907-f7690bd68dfb" providerId="ADAL" clId="{A3599A74-B049-44EE-8670-DE420CF3148A}" dt="2024-10-18T14:44:53.247" v="5338" actId="1035"/>
          <ac:spMkLst>
            <pc:docMk/>
            <pc:sldMk cId="951449358" sldId="5166"/>
            <ac:spMk id="22" creationId="{89B21B3A-D85A-B8C7-48F8-3CA73E7C2320}"/>
          </ac:spMkLst>
        </pc:spChg>
        <pc:spChg chg="mod">
          <ac:chgData name="Jacob, Karen (SPAC/PSPC) (elle-la / she-her)" userId="66e9cce0-e37b-4645-a907-f7690bd68dfb" providerId="ADAL" clId="{A3599A74-B049-44EE-8670-DE420CF3148A}" dt="2024-10-18T14:44:53.247" v="5338" actId="1035"/>
          <ac:spMkLst>
            <pc:docMk/>
            <pc:sldMk cId="951449358" sldId="5166"/>
            <ac:spMk id="23" creationId="{4EDF1A38-1D91-82B4-3822-2C10FFC49D78}"/>
          </ac:spMkLst>
        </pc:spChg>
        <pc:spChg chg="mod">
          <ac:chgData name="Jacob, Karen (SPAC/PSPC) (elle-la / she-her)" userId="66e9cce0-e37b-4645-a907-f7690bd68dfb" providerId="ADAL" clId="{A3599A74-B049-44EE-8670-DE420CF3148A}" dt="2024-10-18T14:44:53.247" v="5338" actId="1035"/>
          <ac:spMkLst>
            <pc:docMk/>
            <pc:sldMk cId="951449358" sldId="5166"/>
            <ac:spMk id="24" creationId="{62B1A6BC-85B8-8455-E5E4-944980977CE0}"/>
          </ac:spMkLst>
        </pc:spChg>
        <pc:spChg chg="mod">
          <ac:chgData name="Jacob, Karen (SPAC/PSPC) (elle-la / she-her)" userId="66e9cce0-e37b-4645-a907-f7690bd68dfb" providerId="ADAL" clId="{A3599A74-B049-44EE-8670-DE420CF3148A}" dt="2024-10-18T14:44:53.247" v="5338" actId="1035"/>
          <ac:spMkLst>
            <pc:docMk/>
            <pc:sldMk cId="951449358" sldId="5166"/>
            <ac:spMk id="25" creationId="{4C6558A7-8461-4B90-34AF-9C2C38721B9B}"/>
          </ac:spMkLst>
        </pc:spChg>
        <pc:spChg chg="add mod">
          <ac:chgData name="Jacob, Karen (SPAC/PSPC) (elle-la / she-her)" userId="66e9cce0-e37b-4645-a907-f7690bd68dfb" providerId="ADAL" clId="{A3599A74-B049-44EE-8670-DE420CF3148A}" dt="2024-10-18T14:44:53.247" v="5338" actId="1035"/>
          <ac:spMkLst>
            <pc:docMk/>
            <pc:sldMk cId="951449358" sldId="5166"/>
            <ac:spMk id="26" creationId="{3EB05C5D-2B3E-2DE3-4C8F-BD63A7AFA07B}"/>
          </ac:spMkLst>
        </pc:spChg>
        <pc:spChg chg="add mod">
          <ac:chgData name="Jacob, Karen (SPAC/PSPC) (elle-la / she-her)" userId="66e9cce0-e37b-4645-a907-f7690bd68dfb" providerId="ADAL" clId="{A3599A74-B049-44EE-8670-DE420CF3148A}" dt="2024-10-18T14:51:46.283" v="5468" actId="790"/>
          <ac:spMkLst>
            <pc:docMk/>
            <pc:sldMk cId="951449358" sldId="5166"/>
            <ac:spMk id="27" creationId="{57DEDA11-4574-71ED-2E61-C7774C243B21}"/>
          </ac:spMkLst>
        </pc:spChg>
        <pc:spChg chg="add mod">
          <ac:chgData name="Jacob, Karen (SPAC/PSPC) (elle-la / she-her)" userId="66e9cce0-e37b-4645-a907-f7690bd68dfb" providerId="ADAL" clId="{A3599A74-B049-44EE-8670-DE420CF3148A}" dt="2024-10-18T14:44:53.247" v="5338" actId="1035"/>
          <ac:spMkLst>
            <pc:docMk/>
            <pc:sldMk cId="951449358" sldId="5166"/>
            <ac:spMk id="28" creationId="{59447730-6FE7-EC4E-D82B-4CDD47E25598}"/>
          </ac:spMkLst>
        </pc:spChg>
        <pc:spChg chg="add mod">
          <ac:chgData name="Jacob, Karen (SPAC/PSPC) (elle-la / she-her)" userId="66e9cce0-e37b-4645-a907-f7690bd68dfb" providerId="ADAL" clId="{A3599A74-B049-44EE-8670-DE420CF3148A}" dt="2024-10-18T14:44:53.247" v="5338" actId="1035"/>
          <ac:spMkLst>
            <pc:docMk/>
            <pc:sldMk cId="951449358" sldId="5166"/>
            <ac:spMk id="29" creationId="{553F35BF-1795-942C-7210-1F70701F738A}"/>
          </ac:spMkLst>
        </pc:spChg>
        <pc:spChg chg="add mod">
          <ac:chgData name="Jacob, Karen (SPAC/PSPC) (elle-la / she-her)" userId="66e9cce0-e37b-4645-a907-f7690bd68dfb" providerId="ADAL" clId="{A3599A74-B049-44EE-8670-DE420CF3148A}" dt="2024-10-18T14:44:53.247" v="5338" actId="1035"/>
          <ac:spMkLst>
            <pc:docMk/>
            <pc:sldMk cId="951449358" sldId="5166"/>
            <ac:spMk id="30" creationId="{CF803FF0-F5AD-09EE-E848-7158D9ECA15B}"/>
          </ac:spMkLst>
        </pc:spChg>
        <pc:spChg chg="add mod">
          <ac:chgData name="Jacob, Karen (SPAC/PSPC) (elle-la / she-her)" userId="66e9cce0-e37b-4645-a907-f7690bd68dfb" providerId="ADAL" clId="{A3599A74-B049-44EE-8670-DE420CF3148A}" dt="2024-10-18T14:44:53.247" v="5338" actId="1035"/>
          <ac:spMkLst>
            <pc:docMk/>
            <pc:sldMk cId="951449358" sldId="5166"/>
            <ac:spMk id="37" creationId="{04E6FCF7-DB94-8921-A44C-934B7E940C36}"/>
          </ac:spMkLst>
        </pc:spChg>
        <pc:spChg chg="add mod ord">
          <ac:chgData name="Jacob, Karen (SPAC/PSPC) (elle-la / she-her)" userId="66e9cce0-e37b-4645-a907-f7690bd68dfb" providerId="ADAL" clId="{A3599A74-B049-44EE-8670-DE420CF3148A}" dt="2024-10-18T14:44:33.348" v="5319" actId="167"/>
          <ac:spMkLst>
            <pc:docMk/>
            <pc:sldMk cId="951449358" sldId="5166"/>
            <ac:spMk id="38" creationId="{E109C5DE-2F60-F210-2203-131E1C4A07EF}"/>
          </ac:spMkLst>
        </pc:spChg>
        <pc:grpChg chg="add mod">
          <ac:chgData name="Jacob, Karen (SPAC/PSPC) (elle-la / she-her)" userId="66e9cce0-e37b-4645-a907-f7690bd68dfb" providerId="ADAL" clId="{A3599A74-B049-44EE-8670-DE420CF3148A}" dt="2024-10-18T14:44:53.247" v="5338" actId="1035"/>
          <ac:grpSpMkLst>
            <pc:docMk/>
            <pc:sldMk cId="951449358" sldId="5166"/>
            <ac:grpSpMk id="6" creationId="{836673FF-D0BB-C36D-C2D5-F3A93BF20D2F}"/>
          </ac:grpSpMkLst>
        </pc:grpChg>
        <pc:grpChg chg="add mod">
          <ac:chgData name="Jacob, Karen (SPAC/PSPC) (elle-la / she-her)" userId="66e9cce0-e37b-4645-a907-f7690bd68dfb" providerId="ADAL" clId="{A3599A74-B049-44EE-8670-DE420CF3148A}" dt="2024-10-18T14:44:53.247" v="5338" actId="1035"/>
          <ac:grpSpMkLst>
            <pc:docMk/>
            <pc:sldMk cId="951449358" sldId="5166"/>
            <ac:grpSpMk id="20" creationId="{DCF7A223-1B46-DCE0-C185-178B672ADE30}"/>
          </ac:grpSpMkLst>
        </pc:grpChg>
        <pc:grpChg chg="add mod">
          <ac:chgData name="Jacob, Karen (SPAC/PSPC) (elle-la / she-her)" userId="66e9cce0-e37b-4645-a907-f7690bd68dfb" providerId="ADAL" clId="{A3599A74-B049-44EE-8670-DE420CF3148A}" dt="2024-10-18T14:44:53.247" v="5338" actId="1035"/>
          <ac:grpSpMkLst>
            <pc:docMk/>
            <pc:sldMk cId="951449358" sldId="5166"/>
            <ac:grpSpMk id="33" creationId="{769F25D5-0ACE-A2D5-150F-32E72CA3FC17}"/>
          </ac:grpSpMkLst>
        </pc:grpChg>
        <pc:picChg chg="add mod">
          <ac:chgData name="Jacob, Karen (SPAC/PSPC) (elle-la / she-her)" userId="66e9cce0-e37b-4645-a907-f7690bd68dfb" providerId="ADAL" clId="{A3599A74-B049-44EE-8670-DE420CF3148A}" dt="2024-10-18T14:44:53.247" v="5338" actId="1035"/>
          <ac:picMkLst>
            <pc:docMk/>
            <pc:sldMk cId="951449358" sldId="5166"/>
            <ac:picMk id="17" creationId="{275EB9EA-242E-E32A-7DF8-E542F80E1164}"/>
          </ac:picMkLst>
        </pc:picChg>
        <pc:picChg chg="add mod">
          <ac:chgData name="Jacob, Karen (SPAC/PSPC) (elle-la / she-her)" userId="66e9cce0-e37b-4645-a907-f7690bd68dfb" providerId="ADAL" clId="{A3599A74-B049-44EE-8670-DE420CF3148A}" dt="2024-10-18T14:44:53.247" v="5338" actId="1035"/>
          <ac:picMkLst>
            <pc:docMk/>
            <pc:sldMk cId="951449358" sldId="5166"/>
            <ac:picMk id="18" creationId="{82BBBD58-FA6F-6EC8-AECE-391F7F6F74D3}"/>
          </ac:picMkLst>
        </pc:picChg>
        <pc:picChg chg="add mod">
          <ac:chgData name="Jacob, Karen (SPAC/PSPC) (elle-la / she-her)" userId="66e9cce0-e37b-4645-a907-f7690bd68dfb" providerId="ADAL" clId="{A3599A74-B049-44EE-8670-DE420CF3148A}" dt="2024-10-18T14:44:53.247" v="5338" actId="1035"/>
          <ac:picMkLst>
            <pc:docMk/>
            <pc:sldMk cId="951449358" sldId="5166"/>
            <ac:picMk id="31" creationId="{584F3591-1389-AFE2-9988-630538612733}"/>
          </ac:picMkLst>
        </pc:picChg>
        <pc:picChg chg="add mod">
          <ac:chgData name="Jacob, Karen (SPAC/PSPC) (elle-la / she-her)" userId="66e9cce0-e37b-4645-a907-f7690bd68dfb" providerId="ADAL" clId="{A3599A74-B049-44EE-8670-DE420CF3148A}" dt="2024-10-18T14:44:53.247" v="5338" actId="1035"/>
          <ac:picMkLst>
            <pc:docMk/>
            <pc:sldMk cId="951449358" sldId="5166"/>
            <ac:picMk id="32" creationId="{FDF20F69-3197-FD5C-05EB-9E1AC0557767}"/>
          </ac:picMkLst>
        </pc:picChg>
        <pc:picChg chg="mod">
          <ac:chgData name="Jacob, Karen (SPAC/PSPC) (elle-la / she-her)" userId="66e9cce0-e37b-4645-a907-f7690bd68dfb" providerId="ADAL" clId="{A3599A74-B049-44EE-8670-DE420CF3148A}" dt="2024-10-18T14:44:53.247" v="5338" actId="1035"/>
          <ac:picMkLst>
            <pc:docMk/>
            <pc:sldMk cId="951449358" sldId="5166"/>
            <ac:picMk id="34" creationId="{2FB48BB1-72DE-06A6-56B2-FC23EFB14F8B}"/>
          </ac:picMkLst>
        </pc:picChg>
        <pc:picChg chg="mod">
          <ac:chgData name="Jacob, Karen (SPAC/PSPC) (elle-la / she-her)" userId="66e9cce0-e37b-4645-a907-f7690bd68dfb" providerId="ADAL" clId="{A3599A74-B049-44EE-8670-DE420CF3148A}" dt="2024-10-18T14:44:53.247" v="5338" actId="1035"/>
          <ac:picMkLst>
            <pc:docMk/>
            <pc:sldMk cId="951449358" sldId="5166"/>
            <ac:picMk id="35" creationId="{BBD661EF-B16E-1F8E-F7B2-08A14C470C0E}"/>
          </ac:picMkLst>
        </pc:picChg>
        <pc:picChg chg="mod">
          <ac:chgData name="Jacob, Karen (SPAC/PSPC) (elle-la / she-her)" userId="66e9cce0-e37b-4645-a907-f7690bd68dfb" providerId="ADAL" clId="{A3599A74-B049-44EE-8670-DE420CF3148A}" dt="2024-10-18T14:44:53.247" v="5338" actId="1035"/>
          <ac:picMkLst>
            <pc:docMk/>
            <pc:sldMk cId="951449358" sldId="5166"/>
            <ac:picMk id="36" creationId="{ED75FF99-3DF7-84E0-7B5B-4EFCB272051C}"/>
          </ac:picMkLst>
        </pc:picChg>
      </pc:sldChg>
      <pc:sldChg chg="addSp delSp modSp add mod ord delCm modCm">
        <pc:chgData name="Jacob, Karen (SPAC/PSPC) (elle-la / she-her)" userId="66e9cce0-e37b-4645-a907-f7690bd68dfb" providerId="ADAL" clId="{A3599A74-B049-44EE-8670-DE420CF3148A}" dt="2024-10-30T19:40:49.199" v="20505"/>
        <pc:sldMkLst>
          <pc:docMk/>
          <pc:sldMk cId="2106271575" sldId="5167"/>
        </pc:sldMkLst>
        <pc:spChg chg="mod">
          <ac:chgData name="Jacob, Karen (SPAC/PSPC) (elle-la / she-her)" userId="66e9cce0-e37b-4645-a907-f7690bd68dfb" providerId="ADAL" clId="{A3599A74-B049-44EE-8670-DE420CF3148A}" dt="2024-10-30T19:40:44.188" v="20504" actId="20577"/>
          <ac:spMkLst>
            <pc:docMk/>
            <pc:sldMk cId="2106271575" sldId="5167"/>
            <ac:spMk id="4" creationId="{6E84A27E-2844-316E-6672-1236545BDBDC}"/>
          </ac:spMkLst>
        </pc:spChg>
        <pc:spChg chg="add mod">
          <ac:chgData name="Jacob, Karen (SPAC/PSPC) (elle-la / she-her)" userId="66e9cce0-e37b-4645-a907-f7690bd68dfb" providerId="ADAL" clId="{A3599A74-B049-44EE-8670-DE420CF3148A}" dt="2024-10-24T18:13:52.423" v="19427"/>
          <ac:spMkLst>
            <pc:docMk/>
            <pc:sldMk cId="2106271575" sldId="5167"/>
            <ac:spMk id="7" creationId="{35341F70-17E8-89A5-84EF-DA67A9FDF4D9}"/>
          </ac:spMkLst>
        </pc:spChg>
        <pc:spChg chg="add del mod">
          <ac:chgData name="Jacob, Karen (SPAC/PSPC) (elle-la / she-her)" userId="66e9cce0-e37b-4645-a907-f7690bd68dfb" providerId="ADAL" clId="{A3599A74-B049-44EE-8670-DE420CF3148A}" dt="2024-10-24T18:14:04.144" v="19430" actId="21"/>
          <ac:spMkLst>
            <pc:docMk/>
            <pc:sldMk cId="2106271575" sldId="5167"/>
            <ac:spMk id="8" creationId="{9E7EA0FB-96DA-D309-DAD0-3AA33FFD40BB}"/>
          </ac:spMkLst>
        </pc:spChg>
        <pc:spChg chg="add del mod">
          <ac:chgData name="Jacob, Karen (SPAC/PSPC) (elle-la / she-her)" userId="66e9cce0-e37b-4645-a907-f7690bd68dfb" providerId="ADAL" clId="{A3599A74-B049-44EE-8670-DE420CF3148A}" dt="2024-10-24T18:13:59.088" v="19428" actId="478"/>
          <ac:spMkLst>
            <pc:docMk/>
            <pc:sldMk cId="2106271575" sldId="5167"/>
            <ac:spMk id="10" creationId="{B4568E66-FC29-A28B-9025-D3C456CD885A}"/>
          </ac:spMkLst>
        </pc:spChg>
        <pc:spChg chg="del mod">
          <ac:chgData name="Jacob, Karen (SPAC/PSPC) (elle-la / she-her)" userId="66e9cce0-e37b-4645-a907-f7690bd68dfb" providerId="ADAL" clId="{A3599A74-B049-44EE-8670-DE420CF3148A}" dt="2024-10-18T14:32:20.406" v="5119"/>
          <ac:spMkLst>
            <pc:docMk/>
            <pc:sldMk cId="2106271575" sldId="5167"/>
            <ac:spMk id="12" creationId="{49BC1508-1F65-AA39-033E-D60F15B261D2}"/>
          </ac:spMkLst>
        </pc:spChg>
        <pc:spChg chg="add mod">
          <ac:chgData name="Jacob, Karen (SPAC/PSPC) (elle-la / she-her)" userId="66e9cce0-e37b-4645-a907-f7690bd68dfb" providerId="ADAL" clId="{A3599A74-B049-44EE-8670-DE420CF3148A}" dt="2024-10-24T18:14:10.020" v="19432" actId="1076"/>
          <ac:spMkLst>
            <pc:docMk/>
            <pc:sldMk cId="2106271575" sldId="5167"/>
            <ac:spMk id="12" creationId="{9E7EA0FB-96DA-D309-DAD0-3AA33FFD40BB}"/>
          </ac:spMkLst>
        </pc:spChg>
        <pc:picChg chg="add del mod">
          <ac:chgData name="Jacob, Karen (SPAC/PSPC) (elle-la / she-her)" userId="66e9cce0-e37b-4645-a907-f7690bd68dfb" providerId="ADAL" clId="{A3599A74-B049-44EE-8670-DE420CF3148A}" dt="2024-10-24T18:14:04.144" v="19430" actId="21"/>
          <ac:picMkLst>
            <pc:docMk/>
            <pc:sldMk cId="2106271575" sldId="5167"/>
            <ac:picMk id="5" creationId="{34E26041-226E-BB54-F354-A606DDC5B170}"/>
          </ac:picMkLst>
        </pc:picChg>
        <pc:picChg chg="add mod">
          <ac:chgData name="Jacob, Karen (SPAC/PSPC) (elle-la / she-her)" userId="66e9cce0-e37b-4645-a907-f7690bd68dfb" providerId="ADAL" clId="{A3599A74-B049-44EE-8670-DE420CF3148A}" dt="2024-10-24T18:13:52.423" v="19427"/>
          <ac:picMkLst>
            <pc:docMk/>
            <pc:sldMk cId="2106271575" sldId="5167"/>
            <ac:picMk id="6" creationId="{ECCA0B59-DF14-4002-3BE9-97B46FAEC121}"/>
          </ac:picMkLst>
        </pc:picChg>
        <pc:picChg chg="add del mod">
          <ac:chgData name="Jacob, Karen (SPAC/PSPC) (elle-la / she-her)" userId="66e9cce0-e37b-4645-a907-f7690bd68dfb" providerId="ADAL" clId="{A3599A74-B049-44EE-8670-DE420CF3148A}" dt="2024-10-24T18:14:00.299" v="19429" actId="478"/>
          <ac:picMkLst>
            <pc:docMk/>
            <pc:sldMk cId="2106271575" sldId="5167"/>
            <ac:picMk id="9" creationId="{DEB7B42C-A574-AC10-6004-CA57F03F45A5}"/>
          </ac:picMkLst>
        </pc:picChg>
        <pc:picChg chg="add mod">
          <ac:chgData name="Jacob, Karen (SPAC/PSPC) (elle-la / she-her)" userId="66e9cce0-e37b-4645-a907-f7690bd68dfb" providerId="ADAL" clId="{A3599A74-B049-44EE-8670-DE420CF3148A}" dt="2024-10-24T18:14:10.020" v="19432" actId="1076"/>
          <ac:picMkLst>
            <pc:docMk/>
            <pc:sldMk cId="2106271575" sldId="5167"/>
            <ac:picMk id="11" creationId="{34E26041-226E-BB54-F354-A606DDC5B170}"/>
          </ac:picMkLst>
        </pc:pic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40:49.199" v="20505"/>
              <pc2:cmMkLst xmlns:pc2="http://schemas.microsoft.com/office/powerpoint/2019/9/main/command">
                <pc:docMk/>
                <pc:sldMk cId="2106271575" sldId="5167"/>
                <pc2:cmMk id="{6A66DB58-6306-43CE-9B8B-A56F6AF56B94}"/>
              </pc2:cmMkLst>
            </pc226:cmChg>
          </p:ext>
        </pc:extLst>
      </pc:sldChg>
      <pc:sldChg chg="modSp add mod ord">
        <pc:chgData name="Jacob, Karen (SPAC/PSPC) (elle-la / she-her)" userId="66e9cce0-e37b-4645-a907-f7690bd68dfb" providerId="ADAL" clId="{A3599A74-B049-44EE-8670-DE420CF3148A}" dt="2024-10-30T19:40:20.488" v="20476" actId="20577"/>
        <pc:sldMkLst>
          <pc:docMk/>
          <pc:sldMk cId="3254786999" sldId="5168"/>
        </pc:sldMkLst>
        <pc:spChg chg="mod">
          <ac:chgData name="Jacob, Karen (SPAC/PSPC) (elle-la / she-her)" userId="66e9cce0-e37b-4645-a907-f7690bd68dfb" providerId="ADAL" clId="{A3599A74-B049-44EE-8670-DE420CF3148A}" dt="2024-10-30T19:40:20.488" v="20476" actId="20577"/>
          <ac:spMkLst>
            <pc:docMk/>
            <pc:sldMk cId="3254786999" sldId="5168"/>
            <ac:spMk id="12" creationId="{49BC1508-1F65-AA39-033E-D60F15B261D2}"/>
          </ac:spMkLst>
        </pc:spChg>
      </pc:sldChg>
      <pc:sldChg chg="new del">
        <pc:chgData name="Jacob, Karen (SPAC/PSPC) (elle-la / she-her)" userId="66e9cce0-e37b-4645-a907-f7690bd68dfb" providerId="ADAL" clId="{A3599A74-B049-44EE-8670-DE420CF3148A}" dt="2024-10-23T18:23:45.116" v="8062" actId="47"/>
        <pc:sldMkLst>
          <pc:docMk/>
          <pc:sldMk cId="1755429270" sldId="5169"/>
        </pc:sldMkLst>
      </pc:sldChg>
      <pc:sldChg chg="addSp delSp modSp new mod">
        <pc:chgData name="Jacob, Karen (SPAC/PSPC) (elle-la / she-her)" userId="66e9cce0-e37b-4645-a907-f7690bd68dfb" providerId="ADAL" clId="{A3599A74-B049-44EE-8670-DE420CF3148A}" dt="2024-10-30T19:31:36.586" v="19756" actId="207"/>
        <pc:sldMkLst>
          <pc:docMk/>
          <pc:sldMk cId="775145580" sldId="5170"/>
        </pc:sldMkLst>
        <pc:spChg chg="del">
          <ac:chgData name="Jacob, Karen (SPAC/PSPC) (elle-la / she-her)" userId="66e9cce0-e37b-4645-a907-f7690bd68dfb" providerId="ADAL" clId="{A3599A74-B049-44EE-8670-DE420CF3148A}" dt="2024-10-23T18:24:08.147" v="8108" actId="478"/>
          <ac:spMkLst>
            <pc:docMk/>
            <pc:sldMk cId="775145580" sldId="5170"/>
            <ac:spMk id="2" creationId="{32ACC9C4-D813-A34D-DAE5-E581EFBDB275}"/>
          </ac:spMkLst>
        </pc:spChg>
        <pc:spChg chg="del">
          <ac:chgData name="Jacob, Karen (SPAC/PSPC) (elle-la / she-her)" userId="66e9cce0-e37b-4645-a907-f7690bd68dfb" providerId="ADAL" clId="{A3599A74-B049-44EE-8670-DE420CF3148A}" dt="2024-10-23T19:38:16.061" v="14399" actId="478"/>
          <ac:spMkLst>
            <pc:docMk/>
            <pc:sldMk cId="775145580" sldId="5170"/>
            <ac:spMk id="3" creationId="{4AF771F5-7B88-D0E8-47FD-11227AEF7D8C}"/>
          </ac:spMkLst>
        </pc:spChg>
        <pc:spChg chg="add del mod">
          <ac:chgData name="Jacob, Karen (SPAC/PSPC) (elle-la / she-her)" userId="66e9cce0-e37b-4645-a907-f7690bd68dfb" providerId="ADAL" clId="{A3599A74-B049-44EE-8670-DE420CF3148A}" dt="2024-10-30T19:31:36.586" v="19756" actId="207"/>
          <ac:spMkLst>
            <pc:docMk/>
            <pc:sldMk cId="775145580" sldId="5170"/>
            <ac:spMk id="4" creationId="{7D0AA24E-8F9C-5384-47ED-0C5CBF0D2122}"/>
          </ac:spMkLst>
        </pc:spChg>
        <pc:spChg chg="add del mod">
          <ac:chgData name="Jacob, Karen (SPAC/PSPC) (elle-la / she-her)" userId="66e9cce0-e37b-4645-a907-f7690bd68dfb" providerId="ADAL" clId="{A3599A74-B049-44EE-8670-DE420CF3148A}" dt="2024-10-23T18:24:04.172" v="8107" actId="478"/>
          <ac:spMkLst>
            <pc:docMk/>
            <pc:sldMk cId="775145580" sldId="5170"/>
            <ac:spMk id="6" creationId="{6F1CF89C-C176-DEFA-86DD-8AF63B465801}"/>
          </ac:spMkLst>
        </pc:spChg>
      </pc:sldChg>
    </pc:docChg>
  </pc:docChgLst>
  <pc:docChgLst>
    <pc:chgData name="Abbas, Leyla (SPAC/PSPC) (elle-la / she-her)" userId="S::leyla.abbas@tpsgc-pwgsc.gc.ca::da27d1c1-2479-4b38-9860-f58297398a7f" providerId="AD" clId="Web-{0F08A7E3-92B3-EC99-EE44-4721A49A2B6C}"/>
    <pc:docChg chg="modSld">
      <pc:chgData name="Abbas, Leyla (SPAC/PSPC) (elle-la / she-her)" userId="S::leyla.abbas@tpsgc-pwgsc.gc.ca::da27d1c1-2479-4b38-9860-f58297398a7f" providerId="AD" clId="Web-{0F08A7E3-92B3-EC99-EE44-4721A49A2B6C}" dt="2024-10-25T17:59:23.623" v="11" actId="20577"/>
      <pc:docMkLst>
        <pc:docMk/>
      </pc:docMkLst>
      <pc:sldChg chg="modSp">
        <pc:chgData name="Abbas, Leyla (SPAC/PSPC) (elle-la / she-her)" userId="S::leyla.abbas@tpsgc-pwgsc.gc.ca::da27d1c1-2479-4b38-9860-f58297398a7f" providerId="AD" clId="Web-{0F08A7E3-92B3-EC99-EE44-4721A49A2B6C}" dt="2024-10-25T17:59:23.623" v="11" actId="20577"/>
        <pc:sldMkLst>
          <pc:docMk/>
          <pc:sldMk cId="1022071146" sldId="5154"/>
        </pc:sldMkLst>
        <pc:spChg chg="mod">
          <ac:chgData name="Abbas, Leyla (SPAC/PSPC) (elle-la / she-her)" userId="S::leyla.abbas@tpsgc-pwgsc.gc.ca::da27d1c1-2479-4b38-9860-f58297398a7f" providerId="AD" clId="Web-{0F08A7E3-92B3-EC99-EE44-4721A49A2B6C}" dt="2024-10-25T17:59:23.623" v="11" actId="20577"/>
          <ac:spMkLst>
            <pc:docMk/>
            <pc:sldMk cId="1022071146" sldId="5154"/>
            <ac:spMk id="3" creationId="{7A78167E-F052-C9E8-04C8-15DFB9851FEC}"/>
          </ac:spMkLst>
        </pc:spChg>
      </pc:sldChg>
    </pc:docChg>
  </pc:docChgLst>
  <pc:docChgLst>
    <pc:chgData name="Dion3, Alain (SPAC/PSPC) (il-lui / he-him)" userId="b5972ad0-fee1-4393-9fd4-8bc589782ac7" providerId="ADAL" clId="{5D50F259-4704-4584-8F27-B0F493E0DAF2}"/>
    <pc:docChg chg="undo custSel modSld modMainMaster">
      <pc:chgData name="Dion3, Alain (SPAC/PSPC) (il-lui / he-him)" userId="b5972ad0-fee1-4393-9fd4-8bc589782ac7" providerId="ADAL" clId="{5D50F259-4704-4584-8F27-B0F493E0DAF2}" dt="2024-11-05T14:33:28.216" v="579" actId="790"/>
      <pc:docMkLst>
        <pc:docMk/>
      </pc:docMkLst>
      <pc:sldChg chg="modSp mod">
        <pc:chgData name="Dion3, Alain (SPAC/PSPC) (il-lui / he-him)" userId="b5972ad0-fee1-4393-9fd4-8bc589782ac7" providerId="ADAL" clId="{5D50F259-4704-4584-8F27-B0F493E0DAF2}" dt="2024-11-05T14:33:28.216" v="579" actId="790"/>
        <pc:sldMkLst>
          <pc:docMk/>
          <pc:sldMk cId="1739606208" sldId="384"/>
        </pc:sldMkLst>
        <pc:spChg chg="mod">
          <ac:chgData name="Dion3, Alain (SPAC/PSPC) (il-lui / he-him)" userId="b5972ad0-fee1-4393-9fd4-8bc589782ac7" providerId="ADAL" clId="{5D50F259-4704-4584-8F27-B0F493E0DAF2}" dt="2024-11-05T14:33:28.216" v="579" actId="790"/>
          <ac:spMkLst>
            <pc:docMk/>
            <pc:sldMk cId="1739606208" sldId="384"/>
            <ac:spMk id="15" creationId="{411163A5-7CB5-46A7-AE5F-BC3D5AAEA03C}"/>
          </ac:spMkLst>
        </pc:spChg>
        <pc:spChg chg="mod">
          <ac:chgData name="Dion3, Alain (SPAC/PSPC) (il-lui / he-him)" userId="b5972ad0-fee1-4393-9fd4-8bc589782ac7" providerId="ADAL" clId="{5D50F259-4704-4584-8F27-B0F493E0DAF2}" dt="2024-11-05T14:33:28.216" v="579" actId="790"/>
          <ac:spMkLst>
            <pc:docMk/>
            <pc:sldMk cId="1739606208" sldId="384"/>
            <ac:spMk id="16" creationId="{68044161-86F9-4088-A6B9-05999097B37C}"/>
          </ac:spMkLst>
        </pc:spChg>
        <pc:spChg chg="mod">
          <ac:chgData name="Dion3, Alain (SPAC/PSPC) (il-lui / he-him)" userId="b5972ad0-fee1-4393-9fd4-8bc589782ac7" providerId="ADAL" clId="{5D50F259-4704-4584-8F27-B0F493E0DAF2}" dt="2024-11-05T14:33:28.216" v="579" actId="790"/>
          <ac:spMkLst>
            <pc:docMk/>
            <pc:sldMk cId="1739606208" sldId="384"/>
            <ac:spMk id="19" creationId="{6F17F2A8-C13F-4D59-AEE3-797B6ED58FD3}"/>
          </ac:spMkLst>
        </pc:spChg>
        <pc:picChg chg="mod">
          <ac:chgData name="Dion3, Alain (SPAC/PSPC) (il-lui / he-him)" userId="b5972ad0-fee1-4393-9fd4-8bc589782ac7" providerId="ADAL" clId="{5D50F259-4704-4584-8F27-B0F493E0DAF2}" dt="2024-11-04T15:55:27.161" v="2" actId="1076"/>
          <ac:picMkLst>
            <pc:docMk/>
            <pc:sldMk cId="1739606208" sldId="384"/>
            <ac:picMk id="3" creationId="{1954C225-5C7E-D340-D4FB-948CFEF5C684}"/>
          </ac:picMkLst>
        </pc:picChg>
      </pc:sldChg>
      <pc:sldChg chg="modSp modNotesTx">
        <pc:chgData name="Dion3, Alain (SPAC/PSPC) (il-lui / he-him)" userId="b5972ad0-fee1-4393-9fd4-8bc589782ac7" providerId="ADAL" clId="{5D50F259-4704-4584-8F27-B0F493E0DAF2}" dt="2024-11-05T13:08:40.854" v="205" actId="790"/>
        <pc:sldMkLst>
          <pc:docMk/>
          <pc:sldMk cId="782836501" sldId="385"/>
        </pc:sldMkLst>
        <pc:graphicFrameChg chg="mod">
          <ac:chgData name="Dion3, Alain (SPAC/PSPC) (il-lui / he-him)" userId="b5972ad0-fee1-4393-9fd4-8bc589782ac7" providerId="ADAL" clId="{5D50F259-4704-4584-8F27-B0F493E0DAF2}" dt="2024-11-05T13:04:56.084" v="182" actId="20577"/>
          <ac:graphicFrameMkLst>
            <pc:docMk/>
            <pc:sldMk cId="782836501" sldId="385"/>
            <ac:graphicFrameMk id="5" creationId="{47AF23CB-9CF8-3A93-AC5C-6849E2091E92}"/>
          </ac:graphicFrameMkLst>
        </pc:graphicFrameChg>
      </pc:sldChg>
      <pc:sldChg chg="modSp mod">
        <pc:chgData name="Dion3, Alain (SPAC/PSPC) (il-lui / he-him)" userId="b5972ad0-fee1-4393-9fd4-8bc589782ac7" providerId="ADAL" clId="{5D50F259-4704-4584-8F27-B0F493E0DAF2}" dt="2024-11-04T18:07:44.589" v="40" actId="33524"/>
        <pc:sldMkLst>
          <pc:docMk/>
          <pc:sldMk cId="3499923032" sldId="5146"/>
        </pc:sldMkLst>
        <pc:spChg chg="mod">
          <ac:chgData name="Dion3, Alain (SPAC/PSPC) (il-lui / he-him)" userId="b5972ad0-fee1-4393-9fd4-8bc589782ac7" providerId="ADAL" clId="{5D50F259-4704-4584-8F27-B0F493E0DAF2}" dt="2024-11-04T18:04:55.854" v="23" actId="790"/>
          <ac:spMkLst>
            <pc:docMk/>
            <pc:sldMk cId="3499923032" sldId="5146"/>
            <ac:spMk id="5" creationId="{249EDED2-ACA5-E482-22BD-5F1403FEDBE4}"/>
          </ac:spMkLst>
        </pc:spChg>
        <pc:spChg chg="mod">
          <ac:chgData name="Dion3, Alain (SPAC/PSPC) (il-lui / he-him)" userId="b5972ad0-fee1-4393-9fd4-8bc589782ac7" providerId="ADAL" clId="{5D50F259-4704-4584-8F27-B0F493E0DAF2}" dt="2024-11-04T18:04:55.854" v="23" actId="790"/>
          <ac:spMkLst>
            <pc:docMk/>
            <pc:sldMk cId="3499923032" sldId="5146"/>
            <ac:spMk id="8" creationId="{58BD4A98-E2BD-BCB3-4425-DC3B6B10B60C}"/>
          </ac:spMkLst>
        </pc:spChg>
        <pc:spChg chg="mod">
          <ac:chgData name="Dion3, Alain (SPAC/PSPC) (il-lui / he-him)" userId="b5972ad0-fee1-4393-9fd4-8bc589782ac7" providerId="ADAL" clId="{5D50F259-4704-4584-8F27-B0F493E0DAF2}" dt="2024-11-04T18:07:44.589" v="40" actId="33524"/>
          <ac:spMkLst>
            <pc:docMk/>
            <pc:sldMk cId="3499923032" sldId="5146"/>
            <ac:spMk id="10" creationId="{000D524A-320F-6BB4-B947-05E0A947FBA7}"/>
          </ac:spMkLst>
        </pc:spChg>
      </pc:sldChg>
      <pc:sldChg chg="modSp mod modNotesTx">
        <pc:chgData name="Dion3, Alain (SPAC/PSPC) (il-lui / he-him)" userId="b5972ad0-fee1-4393-9fd4-8bc589782ac7" providerId="ADAL" clId="{5D50F259-4704-4584-8F27-B0F493E0DAF2}" dt="2024-11-05T14:32:49.400" v="578" actId="20577"/>
        <pc:sldMkLst>
          <pc:docMk/>
          <pc:sldMk cId="2509489348" sldId="5153"/>
        </pc:sldMkLst>
        <pc:spChg chg="mod">
          <ac:chgData name="Dion3, Alain (SPAC/PSPC) (il-lui / he-him)" userId="b5972ad0-fee1-4393-9fd4-8bc589782ac7" providerId="ADAL" clId="{5D50F259-4704-4584-8F27-B0F493E0DAF2}" dt="2024-11-05T14:08:56.939" v="271" actId="790"/>
          <ac:spMkLst>
            <pc:docMk/>
            <pc:sldMk cId="2509489348" sldId="5153"/>
            <ac:spMk id="3" creationId="{41BE6B50-88EB-D2A5-67D3-AD36A9027E26}"/>
          </ac:spMkLst>
        </pc:spChg>
        <pc:spChg chg="mod">
          <ac:chgData name="Dion3, Alain (SPAC/PSPC) (il-lui / he-him)" userId="b5972ad0-fee1-4393-9fd4-8bc589782ac7" providerId="ADAL" clId="{5D50F259-4704-4584-8F27-B0F493E0DAF2}" dt="2024-11-05T14:08:56.939" v="271" actId="790"/>
          <ac:spMkLst>
            <pc:docMk/>
            <pc:sldMk cId="2509489348" sldId="5153"/>
            <ac:spMk id="4" creationId="{630D77A7-4E8E-7081-F0AC-4F3053A49FAC}"/>
          </ac:spMkLst>
        </pc:spChg>
        <pc:spChg chg="mod">
          <ac:chgData name="Dion3, Alain (SPAC/PSPC) (il-lui / he-him)" userId="b5972ad0-fee1-4393-9fd4-8bc589782ac7" providerId="ADAL" clId="{5D50F259-4704-4584-8F27-B0F493E0DAF2}" dt="2024-11-05T14:09:23.051" v="286" actId="20577"/>
          <ac:spMkLst>
            <pc:docMk/>
            <pc:sldMk cId="2509489348" sldId="5153"/>
            <ac:spMk id="5" creationId="{D0DACE9A-1229-9EEE-A180-51B071D4E977}"/>
          </ac:spMkLst>
        </pc:spChg>
        <pc:spChg chg="mod">
          <ac:chgData name="Dion3, Alain (SPAC/PSPC) (il-lui / he-him)" userId="b5972ad0-fee1-4393-9fd4-8bc589782ac7" providerId="ADAL" clId="{5D50F259-4704-4584-8F27-B0F493E0DAF2}" dt="2024-11-05T14:08:56.939" v="271" actId="790"/>
          <ac:spMkLst>
            <pc:docMk/>
            <pc:sldMk cId="2509489348" sldId="5153"/>
            <ac:spMk id="6" creationId="{55B9010B-A8A7-9B6F-B5B4-3FFDE75A9E2A}"/>
          </ac:spMkLst>
        </pc:spChg>
      </pc:sldChg>
      <pc:sldChg chg="modSp mod">
        <pc:chgData name="Dion3, Alain (SPAC/PSPC) (il-lui / he-him)" userId="b5972ad0-fee1-4393-9fd4-8bc589782ac7" providerId="ADAL" clId="{5D50F259-4704-4584-8F27-B0F493E0DAF2}" dt="2024-11-05T14:14:22.945" v="406" actId="20577"/>
        <pc:sldMkLst>
          <pc:docMk/>
          <pc:sldMk cId="1022071146" sldId="5154"/>
        </pc:sldMkLst>
        <pc:spChg chg="mod">
          <ac:chgData name="Dion3, Alain (SPAC/PSPC) (il-lui / he-him)" userId="b5972ad0-fee1-4393-9fd4-8bc589782ac7" providerId="ADAL" clId="{5D50F259-4704-4584-8F27-B0F493E0DAF2}" dt="2024-11-05T14:14:00.735" v="405" actId="20577"/>
          <ac:spMkLst>
            <pc:docMk/>
            <pc:sldMk cId="1022071146" sldId="5154"/>
            <ac:spMk id="2" creationId="{E2A90173-C9BE-15AB-2F1B-343129698A10}"/>
          </ac:spMkLst>
        </pc:spChg>
        <pc:spChg chg="mod">
          <ac:chgData name="Dion3, Alain (SPAC/PSPC) (il-lui / he-him)" userId="b5972ad0-fee1-4393-9fd4-8bc589782ac7" providerId="ADAL" clId="{5D50F259-4704-4584-8F27-B0F493E0DAF2}" dt="2024-11-05T14:14:22.945" v="406" actId="20577"/>
          <ac:spMkLst>
            <pc:docMk/>
            <pc:sldMk cId="1022071146" sldId="5154"/>
            <ac:spMk id="3" creationId="{7A78167E-F052-C9E8-04C8-15DFB9851FEC}"/>
          </ac:spMkLst>
        </pc:spChg>
        <pc:spChg chg="mod">
          <ac:chgData name="Dion3, Alain (SPAC/PSPC) (il-lui / he-him)" userId="b5972ad0-fee1-4393-9fd4-8bc589782ac7" providerId="ADAL" clId="{5D50F259-4704-4584-8F27-B0F493E0DAF2}" dt="2024-11-05T14:13:53.858" v="404" actId="790"/>
          <ac:spMkLst>
            <pc:docMk/>
            <pc:sldMk cId="1022071146" sldId="5154"/>
            <ac:spMk id="5" creationId="{990E4937-9203-80F1-1D3B-46A2B6309F3A}"/>
          </ac:spMkLst>
        </pc:spChg>
        <pc:spChg chg="mod">
          <ac:chgData name="Dion3, Alain (SPAC/PSPC) (il-lui / he-him)" userId="b5972ad0-fee1-4393-9fd4-8bc589782ac7" providerId="ADAL" clId="{5D50F259-4704-4584-8F27-B0F493E0DAF2}" dt="2024-11-05T14:13:53.858" v="404" actId="790"/>
          <ac:spMkLst>
            <pc:docMk/>
            <pc:sldMk cId="1022071146" sldId="5154"/>
            <ac:spMk id="16" creationId="{9FC768E5-1F64-2B56-E0C1-44C03EE92B56}"/>
          </ac:spMkLst>
        </pc:spChg>
        <pc:spChg chg="mod">
          <ac:chgData name="Dion3, Alain (SPAC/PSPC) (il-lui / he-him)" userId="b5972ad0-fee1-4393-9fd4-8bc589782ac7" providerId="ADAL" clId="{5D50F259-4704-4584-8F27-B0F493E0DAF2}" dt="2024-11-05T14:13:53.858" v="404" actId="790"/>
          <ac:spMkLst>
            <pc:docMk/>
            <pc:sldMk cId="1022071146" sldId="5154"/>
            <ac:spMk id="18" creationId="{70058B1D-0A8A-760D-BED4-2BB0341C1D65}"/>
          </ac:spMkLst>
        </pc:spChg>
        <pc:spChg chg="mod">
          <ac:chgData name="Dion3, Alain (SPAC/PSPC) (il-lui / he-him)" userId="b5972ad0-fee1-4393-9fd4-8bc589782ac7" providerId="ADAL" clId="{5D50F259-4704-4584-8F27-B0F493E0DAF2}" dt="2024-11-05T14:13:53.858" v="404" actId="790"/>
          <ac:spMkLst>
            <pc:docMk/>
            <pc:sldMk cId="1022071146" sldId="5154"/>
            <ac:spMk id="20" creationId="{9ACC593A-9919-1799-8ABB-A64A666F9F26}"/>
          </ac:spMkLst>
        </pc:spChg>
        <pc:spChg chg="mod">
          <ac:chgData name="Dion3, Alain (SPAC/PSPC) (il-lui / he-him)" userId="b5972ad0-fee1-4393-9fd4-8bc589782ac7" providerId="ADAL" clId="{5D50F259-4704-4584-8F27-B0F493E0DAF2}" dt="2024-11-05T14:13:53.858" v="404" actId="790"/>
          <ac:spMkLst>
            <pc:docMk/>
            <pc:sldMk cId="1022071146" sldId="5154"/>
            <ac:spMk id="21" creationId="{E3C94D93-CA24-69BA-42B5-5D6F6FBA9C87}"/>
          </ac:spMkLst>
        </pc:spChg>
        <pc:spChg chg="mod">
          <ac:chgData name="Dion3, Alain (SPAC/PSPC) (il-lui / he-him)" userId="b5972ad0-fee1-4393-9fd4-8bc589782ac7" providerId="ADAL" clId="{5D50F259-4704-4584-8F27-B0F493E0DAF2}" dt="2024-11-05T14:13:53.858" v="404" actId="790"/>
          <ac:spMkLst>
            <pc:docMk/>
            <pc:sldMk cId="1022071146" sldId="5154"/>
            <ac:spMk id="23" creationId="{4C6A7B9E-69AE-501D-1378-FDD8B8D94959}"/>
          </ac:spMkLst>
        </pc:spChg>
        <pc:spChg chg="mod">
          <ac:chgData name="Dion3, Alain (SPAC/PSPC) (il-lui / he-him)" userId="b5972ad0-fee1-4393-9fd4-8bc589782ac7" providerId="ADAL" clId="{5D50F259-4704-4584-8F27-B0F493E0DAF2}" dt="2024-11-05T14:13:53.858" v="404" actId="790"/>
          <ac:spMkLst>
            <pc:docMk/>
            <pc:sldMk cId="1022071146" sldId="5154"/>
            <ac:spMk id="24" creationId="{EA992CF0-F97D-F076-9A7A-DB43E7EF8384}"/>
          </ac:spMkLst>
        </pc:spChg>
        <pc:spChg chg="mod">
          <ac:chgData name="Dion3, Alain (SPAC/PSPC) (il-lui / he-him)" userId="b5972ad0-fee1-4393-9fd4-8bc589782ac7" providerId="ADAL" clId="{5D50F259-4704-4584-8F27-B0F493E0DAF2}" dt="2024-11-05T14:13:53.858" v="404" actId="790"/>
          <ac:spMkLst>
            <pc:docMk/>
            <pc:sldMk cId="1022071146" sldId="5154"/>
            <ac:spMk id="25" creationId="{5079FE47-599C-A134-BD23-C4276CD45296}"/>
          </ac:spMkLst>
        </pc:spChg>
        <pc:spChg chg="mod">
          <ac:chgData name="Dion3, Alain (SPAC/PSPC) (il-lui / he-him)" userId="b5972ad0-fee1-4393-9fd4-8bc589782ac7" providerId="ADAL" clId="{5D50F259-4704-4584-8F27-B0F493E0DAF2}" dt="2024-11-05T14:13:53.858" v="404" actId="790"/>
          <ac:spMkLst>
            <pc:docMk/>
            <pc:sldMk cId="1022071146" sldId="5154"/>
            <ac:spMk id="26" creationId="{2D8DBA23-B5AA-7C7E-5352-85936063FD93}"/>
          </ac:spMkLst>
        </pc:spChg>
        <pc:spChg chg="mod">
          <ac:chgData name="Dion3, Alain (SPAC/PSPC) (il-lui / he-him)" userId="b5972ad0-fee1-4393-9fd4-8bc589782ac7" providerId="ADAL" clId="{5D50F259-4704-4584-8F27-B0F493E0DAF2}" dt="2024-11-05T14:13:53.858" v="404" actId="790"/>
          <ac:spMkLst>
            <pc:docMk/>
            <pc:sldMk cId="1022071146" sldId="5154"/>
            <ac:spMk id="27" creationId="{3E44F633-6A18-C683-ECF0-C9ADF10A6E19}"/>
          </ac:spMkLst>
        </pc:spChg>
        <pc:spChg chg="mod">
          <ac:chgData name="Dion3, Alain (SPAC/PSPC) (il-lui / he-him)" userId="b5972ad0-fee1-4393-9fd4-8bc589782ac7" providerId="ADAL" clId="{5D50F259-4704-4584-8F27-B0F493E0DAF2}" dt="2024-11-05T14:13:53.858" v="404" actId="790"/>
          <ac:spMkLst>
            <pc:docMk/>
            <pc:sldMk cId="1022071146" sldId="5154"/>
            <ac:spMk id="28" creationId="{121E2F39-5F17-5BE0-0611-09179169AC61}"/>
          </ac:spMkLst>
        </pc:spChg>
        <pc:spChg chg="mod">
          <ac:chgData name="Dion3, Alain (SPAC/PSPC) (il-lui / he-him)" userId="b5972ad0-fee1-4393-9fd4-8bc589782ac7" providerId="ADAL" clId="{5D50F259-4704-4584-8F27-B0F493E0DAF2}" dt="2024-11-05T14:13:53.858" v="404" actId="790"/>
          <ac:spMkLst>
            <pc:docMk/>
            <pc:sldMk cId="1022071146" sldId="5154"/>
            <ac:spMk id="29" creationId="{12C3754B-981F-6B16-F1BE-8BB0D99D64AF}"/>
          </ac:spMkLst>
        </pc:spChg>
        <pc:spChg chg="mod">
          <ac:chgData name="Dion3, Alain (SPAC/PSPC) (il-lui / he-him)" userId="b5972ad0-fee1-4393-9fd4-8bc589782ac7" providerId="ADAL" clId="{5D50F259-4704-4584-8F27-B0F493E0DAF2}" dt="2024-11-05T14:13:53.858" v="404" actId="790"/>
          <ac:spMkLst>
            <pc:docMk/>
            <pc:sldMk cId="1022071146" sldId="5154"/>
            <ac:spMk id="30" creationId="{A771D895-B308-1CD3-1977-394DE6E698B4}"/>
          </ac:spMkLst>
        </pc:spChg>
        <pc:spChg chg="mod">
          <ac:chgData name="Dion3, Alain (SPAC/PSPC) (il-lui / he-him)" userId="b5972ad0-fee1-4393-9fd4-8bc589782ac7" providerId="ADAL" clId="{5D50F259-4704-4584-8F27-B0F493E0DAF2}" dt="2024-11-05T14:13:53.858" v="404" actId="790"/>
          <ac:spMkLst>
            <pc:docMk/>
            <pc:sldMk cId="1022071146" sldId="5154"/>
            <ac:spMk id="31" creationId="{FF523CDD-A188-0AF8-9753-BA8B4EDA9277}"/>
          </ac:spMkLst>
        </pc:spChg>
        <pc:spChg chg="mod">
          <ac:chgData name="Dion3, Alain (SPAC/PSPC) (il-lui / he-him)" userId="b5972ad0-fee1-4393-9fd4-8bc589782ac7" providerId="ADAL" clId="{5D50F259-4704-4584-8F27-B0F493E0DAF2}" dt="2024-11-05T14:13:53.858" v="404" actId="790"/>
          <ac:spMkLst>
            <pc:docMk/>
            <pc:sldMk cId="1022071146" sldId="5154"/>
            <ac:spMk id="32" creationId="{EFA1AC29-92D2-20E7-13DC-4F7BBD377B89}"/>
          </ac:spMkLst>
        </pc:spChg>
        <pc:spChg chg="mod">
          <ac:chgData name="Dion3, Alain (SPAC/PSPC) (il-lui / he-him)" userId="b5972ad0-fee1-4393-9fd4-8bc589782ac7" providerId="ADAL" clId="{5D50F259-4704-4584-8F27-B0F493E0DAF2}" dt="2024-11-05T14:13:53.858" v="404" actId="790"/>
          <ac:spMkLst>
            <pc:docMk/>
            <pc:sldMk cId="1022071146" sldId="5154"/>
            <ac:spMk id="33" creationId="{17708D04-DFD1-3AA8-5438-2ABED82E0784}"/>
          </ac:spMkLst>
        </pc:spChg>
        <pc:spChg chg="mod">
          <ac:chgData name="Dion3, Alain (SPAC/PSPC) (il-lui / he-him)" userId="b5972ad0-fee1-4393-9fd4-8bc589782ac7" providerId="ADAL" clId="{5D50F259-4704-4584-8F27-B0F493E0DAF2}" dt="2024-11-05T14:13:53.858" v="404" actId="790"/>
          <ac:spMkLst>
            <pc:docMk/>
            <pc:sldMk cId="1022071146" sldId="5154"/>
            <ac:spMk id="34" creationId="{5D52573B-7A52-96DF-FE8D-BDAF691182CA}"/>
          </ac:spMkLst>
        </pc:spChg>
        <pc:spChg chg="mod">
          <ac:chgData name="Dion3, Alain (SPAC/PSPC) (il-lui / he-him)" userId="b5972ad0-fee1-4393-9fd4-8bc589782ac7" providerId="ADAL" clId="{5D50F259-4704-4584-8F27-B0F493E0DAF2}" dt="2024-11-05T14:13:53.858" v="404" actId="790"/>
          <ac:spMkLst>
            <pc:docMk/>
            <pc:sldMk cId="1022071146" sldId="5154"/>
            <ac:spMk id="35" creationId="{CF0739C7-09B9-EB4C-D223-070BF1267B17}"/>
          </ac:spMkLst>
        </pc:spChg>
        <pc:spChg chg="mod">
          <ac:chgData name="Dion3, Alain (SPAC/PSPC) (il-lui / he-him)" userId="b5972ad0-fee1-4393-9fd4-8bc589782ac7" providerId="ADAL" clId="{5D50F259-4704-4584-8F27-B0F493E0DAF2}" dt="2024-11-05T14:13:53.858" v="404" actId="790"/>
          <ac:spMkLst>
            <pc:docMk/>
            <pc:sldMk cId="1022071146" sldId="5154"/>
            <ac:spMk id="36" creationId="{1EBFC678-0DB9-A4EB-AF0F-2895CB3F2C1E}"/>
          </ac:spMkLst>
        </pc:spChg>
        <pc:spChg chg="mod">
          <ac:chgData name="Dion3, Alain (SPAC/PSPC) (il-lui / he-him)" userId="b5972ad0-fee1-4393-9fd4-8bc589782ac7" providerId="ADAL" clId="{5D50F259-4704-4584-8F27-B0F493E0DAF2}" dt="2024-11-05T14:13:53.858" v="404" actId="790"/>
          <ac:spMkLst>
            <pc:docMk/>
            <pc:sldMk cId="1022071146" sldId="5154"/>
            <ac:spMk id="37" creationId="{7E3B3FA9-E209-8C5B-B9BF-1CBC00206948}"/>
          </ac:spMkLst>
        </pc:spChg>
        <pc:spChg chg="mod">
          <ac:chgData name="Dion3, Alain (SPAC/PSPC) (il-lui / he-him)" userId="b5972ad0-fee1-4393-9fd4-8bc589782ac7" providerId="ADAL" clId="{5D50F259-4704-4584-8F27-B0F493E0DAF2}" dt="2024-11-05T14:13:53.858" v="404" actId="790"/>
          <ac:spMkLst>
            <pc:docMk/>
            <pc:sldMk cId="1022071146" sldId="5154"/>
            <ac:spMk id="38" creationId="{B6507E11-EC29-4E46-39AD-4BB6E38FB301}"/>
          </ac:spMkLst>
        </pc:spChg>
        <pc:spChg chg="mod">
          <ac:chgData name="Dion3, Alain (SPAC/PSPC) (il-lui / he-him)" userId="b5972ad0-fee1-4393-9fd4-8bc589782ac7" providerId="ADAL" clId="{5D50F259-4704-4584-8F27-B0F493E0DAF2}" dt="2024-11-05T14:13:53.858" v="404" actId="790"/>
          <ac:spMkLst>
            <pc:docMk/>
            <pc:sldMk cId="1022071146" sldId="5154"/>
            <ac:spMk id="39" creationId="{C7469CDD-D524-16E5-551D-01955F32196C}"/>
          </ac:spMkLst>
        </pc:spChg>
        <pc:spChg chg="mod">
          <ac:chgData name="Dion3, Alain (SPAC/PSPC) (il-lui / he-him)" userId="b5972ad0-fee1-4393-9fd4-8bc589782ac7" providerId="ADAL" clId="{5D50F259-4704-4584-8F27-B0F493E0DAF2}" dt="2024-11-05T14:13:53.858" v="404" actId="790"/>
          <ac:spMkLst>
            <pc:docMk/>
            <pc:sldMk cId="1022071146" sldId="5154"/>
            <ac:spMk id="40" creationId="{F7C5741F-5578-1AF1-4851-0A486B3F686F}"/>
          </ac:spMkLst>
        </pc:spChg>
        <pc:spChg chg="mod">
          <ac:chgData name="Dion3, Alain (SPAC/PSPC) (il-lui / he-him)" userId="b5972ad0-fee1-4393-9fd4-8bc589782ac7" providerId="ADAL" clId="{5D50F259-4704-4584-8F27-B0F493E0DAF2}" dt="2024-11-05T14:13:53.858" v="404" actId="790"/>
          <ac:spMkLst>
            <pc:docMk/>
            <pc:sldMk cId="1022071146" sldId="5154"/>
            <ac:spMk id="41" creationId="{CC7386CC-0505-DBCC-AF06-AFA69ED717C9}"/>
          </ac:spMkLst>
        </pc:spChg>
        <pc:spChg chg="mod">
          <ac:chgData name="Dion3, Alain (SPAC/PSPC) (il-lui / he-him)" userId="b5972ad0-fee1-4393-9fd4-8bc589782ac7" providerId="ADAL" clId="{5D50F259-4704-4584-8F27-B0F493E0DAF2}" dt="2024-11-05T14:13:53.858" v="404" actId="790"/>
          <ac:spMkLst>
            <pc:docMk/>
            <pc:sldMk cId="1022071146" sldId="5154"/>
            <ac:spMk id="42" creationId="{BE4A57EE-E044-A301-EF2C-BED0F57FA70A}"/>
          </ac:spMkLst>
        </pc:spChg>
        <pc:spChg chg="mod">
          <ac:chgData name="Dion3, Alain (SPAC/PSPC) (il-lui / he-him)" userId="b5972ad0-fee1-4393-9fd4-8bc589782ac7" providerId="ADAL" clId="{5D50F259-4704-4584-8F27-B0F493E0DAF2}" dt="2024-11-05T14:13:53.858" v="404" actId="790"/>
          <ac:spMkLst>
            <pc:docMk/>
            <pc:sldMk cId="1022071146" sldId="5154"/>
            <ac:spMk id="43" creationId="{3F3E4707-9FC5-99ED-5D71-20C2D5994A81}"/>
          </ac:spMkLst>
        </pc:spChg>
        <pc:spChg chg="mod">
          <ac:chgData name="Dion3, Alain (SPAC/PSPC) (il-lui / he-him)" userId="b5972ad0-fee1-4393-9fd4-8bc589782ac7" providerId="ADAL" clId="{5D50F259-4704-4584-8F27-B0F493E0DAF2}" dt="2024-11-05T14:13:53.858" v="404" actId="790"/>
          <ac:spMkLst>
            <pc:docMk/>
            <pc:sldMk cId="1022071146" sldId="5154"/>
            <ac:spMk id="44" creationId="{9A8EA917-3A44-7139-87AD-F9EC0728A680}"/>
          </ac:spMkLst>
        </pc:spChg>
        <pc:spChg chg="mod">
          <ac:chgData name="Dion3, Alain (SPAC/PSPC) (il-lui / he-him)" userId="b5972ad0-fee1-4393-9fd4-8bc589782ac7" providerId="ADAL" clId="{5D50F259-4704-4584-8F27-B0F493E0DAF2}" dt="2024-11-05T14:13:53.858" v="404" actId="790"/>
          <ac:spMkLst>
            <pc:docMk/>
            <pc:sldMk cId="1022071146" sldId="5154"/>
            <ac:spMk id="45" creationId="{FFC0B55C-39BF-5CAE-ED00-CF1AAB1A0E5C}"/>
          </ac:spMkLst>
        </pc:spChg>
        <pc:spChg chg="mod">
          <ac:chgData name="Dion3, Alain (SPAC/PSPC) (il-lui / he-him)" userId="b5972ad0-fee1-4393-9fd4-8bc589782ac7" providerId="ADAL" clId="{5D50F259-4704-4584-8F27-B0F493E0DAF2}" dt="2024-11-05T14:13:53.858" v="404" actId="790"/>
          <ac:spMkLst>
            <pc:docMk/>
            <pc:sldMk cId="1022071146" sldId="5154"/>
            <ac:spMk id="46" creationId="{5DD1DF85-5880-3DBC-D19F-84A8C181A8D1}"/>
          </ac:spMkLst>
        </pc:spChg>
        <pc:spChg chg="mod">
          <ac:chgData name="Dion3, Alain (SPAC/PSPC) (il-lui / he-him)" userId="b5972ad0-fee1-4393-9fd4-8bc589782ac7" providerId="ADAL" clId="{5D50F259-4704-4584-8F27-B0F493E0DAF2}" dt="2024-11-05T14:13:53.858" v="404" actId="790"/>
          <ac:spMkLst>
            <pc:docMk/>
            <pc:sldMk cId="1022071146" sldId="5154"/>
            <ac:spMk id="47" creationId="{88299F6F-8805-751B-ADEE-BF0CD75A6124}"/>
          </ac:spMkLst>
        </pc:spChg>
        <pc:spChg chg="mod">
          <ac:chgData name="Dion3, Alain (SPAC/PSPC) (il-lui / he-him)" userId="b5972ad0-fee1-4393-9fd4-8bc589782ac7" providerId="ADAL" clId="{5D50F259-4704-4584-8F27-B0F493E0DAF2}" dt="2024-11-05T14:13:53.858" v="404" actId="790"/>
          <ac:spMkLst>
            <pc:docMk/>
            <pc:sldMk cId="1022071146" sldId="5154"/>
            <ac:spMk id="48" creationId="{CF64522E-403A-03F8-6A2C-40ED44B5E3A5}"/>
          </ac:spMkLst>
        </pc:spChg>
        <pc:spChg chg="mod">
          <ac:chgData name="Dion3, Alain (SPAC/PSPC) (il-lui / he-him)" userId="b5972ad0-fee1-4393-9fd4-8bc589782ac7" providerId="ADAL" clId="{5D50F259-4704-4584-8F27-B0F493E0DAF2}" dt="2024-11-05T14:13:53.858" v="404" actId="790"/>
          <ac:spMkLst>
            <pc:docMk/>
            <pc:sldMk cId="1022071146" sldId="5154"/>
            <ac:spMk id="49" creationId="{91069B41-4C43-24DB-A809-E7DFB1ED4D14}"/>
          </ac:spMkLst>
        </pc:spChg>
        <pc:spChg chg="mod">
          <ac:chgData name="Dion3, Alain (SPAC/PSPC) (il-lui / he-him)" userId="b5972ad0-fee1-4393-9fd4-8bc589782ac7" providerId="ADAL" clId="{5D50F259-4704-4584-8F27-B0F493E0DAF2}" dt="2024-11-05T14:13:53.858" v="404" actId="790"/>
          <ac:spMkLst>
            <pc:docMk/>
            <pc:sldMk cId="1022071146" sldId="5154"/>
            <ac:spMk id="50" creationId="{8B8149E1-0BA5-501B-D6DA-82553AFC8016}"/>
          </ac:spMkLst>
        </pc:spChg>
        <pc:spChg chg="mod">
          <ac:chgData name="Dion3, Alain (SPAC/PSPC) (il-lui / he-him)" userId="b5972ad0-fee1-4393-9fd4-8bc589782ac7" providerId="ADAL" clId="{5D50F259-4704-4584-8F27-B0F493E0DAF2}" dt="2024-11-05T14:13:53.858" v="404" actId="790"/>
          <ac:spMkLst>
            <pc:docMk/>
            <pc:sldMk cId="1022071146" sldId="5154"/>
            <ac:spMk id="51" creationId="{2C429B3A-B535-189D-44AB-C000227A8D66}"/>
          </ac:spMkLst>
        </pc:spChg>
        <pc:spChg chg="mod">
          <ac:chgData name="Dion3, Alain (SPAC/PSPC) (il-lui / he-him)" userId="b5972ad0-fee1-4393-9fd4-8bc589782ac7" providerId="ADAL" clId="{5D50F259-4704-4584-8F27-B0F493E0DAF2}" dt="2024-11-05T14:13:53.858" v="404" actId="790"/>
          <ac:spMkLst>
            <pc:docMk/>
            <pc:sldMk cId="1022071146" sldId="5154"/>
            <ac:spMk id="52" creationId="{03EAD489-B340-22F1-3DE1-27FC20B4E430}"/>
          </ac:spMkLst>
        </pc:spChg>
        <pc:spChg chg="mod">
          <ac:chgData name="Dion3, Alain (SPAC/PSPC) (il-lui / he-him)" userId="b5972ad0-fee1-4393-9fd4-8bc589782ac7" providerId="ADAL" clId="{5D50F259-4704-4584-8F27-B0F493E0DAF2}" dt="2024-11-05T14:13:53.858" v="404" actId="790"/>
          <ac:spMkLst>
            <pc:docMk/>
            <pc:sldMk cId="1022071146" sldId="5154"/>
            <ac:spMk id="53" creationId="{BC7BDEC7-21A8-687C-5FF8-DE2D5E7D5C21}"/>
          </ac:spMkLst>
        </pc:spChg>
        <pc:spChg chg="mod">
          <ac:chgData name="Dion3, Alain (SPAC/PSPC) (il-lui / he-him)" userId="b5972ad0-fee1-4393-9fd4-8bc589782ac7" providerId="ADAL" clId="{5D50F259-4704-4584-8F27-B0F493E0DAF2}" dt="2024-11-05T14:13:53.858" v="404" actId="790"/>
          <ac:spMkLst>
            <pc:docMk/>
            <pc:sldMk cId="1022071146" sldId="5154"/>
            <ac:spMk id="54" creationId="{E5A8D4AB-7BB9-2ADB-170D-5AE12AE11CB3}"/>
          </ac:spMkLst>
        </pc:spChg>
        <pc:spChg chg="mod">
          <ac:chgData name="Dion3, Alain (SPAC/PSPC) (il-lui / he-him)" userId="b5972ad0-fee1-4393-9fd4-8bc589782ac7" providerId="ADAL" clId="{5D50F259-4704-4584-8F27-B0F493E0DAF2}" dt="2024-11-05T14:13:53.858" v="404" actId="790"/>
          <ac:spMkLst>
            <pc:docMk/>
            <pc:sldMk cId="1022071146" sldId="5154"/>
            <ac:spMk id="55" creationId="{DC8FA3CD-28D1-49A1-BC5D-FFAD3A62B81B}"/>
          </ac:spMkLst>
        </pc:spChg>
        <pc:spChg chg="mod">
          <ac:chgData name="Dion3, Alain (SPAC/PSPC) (il-lui / he-him)" userId="b5972ad0-fee1-4393-9fd4-8bc589782ac7" providerId="ADAL" clId="{5D50F259-4704-4584-8F27-B0F493E0DAF2}" dt="2024-11-05T14:13:53.858" v="404" actId="790"/>
          <ac:spMkLst>
            <pc:docMk/>
            <pc:sldMk cId="1022071146" sldId="5154"/>
            <ac:spMk id="56" creationId="{9F4FB8C1-A356-D30E-93D3-683F071FCBE9}"/>
          </ac:spMkLst>
        </pc:spChg>
        <pc:spChg chg="mod">
          <ac:chgData name="Dion3, Alain (SPAC/PSPC) (il-lui / he-him)" userId="b5972ad0-fee1-4393-9fd4-8bc589782ac7" providerId="ADAL" clId="{5D50F259-4704-4584-8F27-B0F493E0DAF2}" dt="2024-11-05T14:13:53.858" v="404" actId="790"/>
          <ac:spMkLst>
            <pc:docMk/>
            <pc:sldMk cId="1022071146" sldId="5154"/>
            <ac:spMk id="57" creationId="{C59489DA-E253-C358-8ABF-D485D1356380}"/>
          </ac:spMkLst>
        </pc:spChg>
        <pc:spChg chg="mod">
          <ac:chgData name="Dion3, Alain (SPAC/PSPC) (il-lui / he-him)" userId="b5972ad0-fee1-4393-9fd4-8bc589782ac7" providerId="ADAL" clId="{5D50F259-4704-4584-8F27-B0F493E0DAF2}" dt="2024-11-05T14:13:53.858" v="404" actId="790"/>
          <ac:spMkLst>
            <pc:docMk/>
            <pc:sldMk cId="1022071146" sldId="5154"/>
            <ac:spMk id="58" creationId="{4BE8A6E3-909C-1ED0-D24B-1794F09C4ECC}"/>
          </ac:spMkLst>
        </pc:spChg>
        <pc:spChg chg="mod">
          <ac:chgData name="Dion3, Alain (SPAC/PSPC) (il-lui / he-him)" userId="b5972ad0-fee1-4393-9fd4-8bc589782ac7" providerId="ADAL" clId="{5D50F259-4704-4584-8F27-B0F493E0DAF2}" dt="2024-11-05T14:13:53.858" v="404" actId="790"/>
          <ac:spMkLst>
            <pc:docMk/>
            <pc:sldMk cId="1022071146" sldId="5154"/>
            <ac:spMk id="59" creationId="{160101F8-D1B5-7A9F-DDE2-14BD9EBC1567}"/>
          </ac:spMkLst>
        </pc:spChg>
        <pc:spChg chg="mod">
          <ac:chgData name="Dion3, Alain (SPAC/PSPC) (il-lui / he-him)" userId="b5972ad0-fee1-4393-9fd4-8bc589782ac7" providerId="ADAL" clId="{5D50F259-4704-4584-8F27-B0F493E0DAF2}" dt="2024-11-05T14:13:53.858" v="404" actId="790"/>
          <ac:spMkLst>
            <pc:docMk/>
            <pc:sldMk cId="1022071146" sldId="5154"/>
            <ac:spMk id="60" creationId="{A4C07864-39AF-05FD-0931-D0AB139277AE}"/>
          </ac:spMkLst>
        </pc:spChg>
        <pc:spChg chg="mod">
          <ac:chgData name="Dion3, Alain (SPAC/PSPC) (il-lui / he-him)" userId="b5972ad0-fee1-4393-9fd4-8bc589782ac7" providerId="ADAL" clId="{5D50F259-4704-4584-8F27-B0F493E0DAF2}" dt="2024-11-05T14:13:53.858" v="404" actId="790"/>
          <ac:spMkLst>
            <pc:docMk/>
            <pc:sldMk cId="1022071146" sldId="5154"/>
            <ac:spMk id="61" creationId="{30BF5EA7-5212-3614-E451-F9F88930001B}"/>
          </ac:spMkLst>
        </pc:spChg>
        <pc:spChg chg="mod">
          <ac:chgData name="Dion3, Alain (SPAC/PSPC) (il-lui / he-him)" userId="b5972ad0-fee1-4393-9fd4-8bc589782ac7" providerId="ADAL" clId="{5D50F259-4704-4584-8F27-B0F493E0DAF2}" dt="2024-11-05T14:13:53.858" v="404" actId="790"/>
          <ac:spMkLst>
            <pc:docMk/>
            <pc:sldMk cId="1022071146" sldId="5154"/>
            <ac:spMk id="62" creationId="{5A4AC6CC-0A70-0090-5EE6-5194EA0EF4BE}"/>
          </ac:spMkLst>
        </pc:spChg>
        <pc:spChg chg="mod">
          <ac:chgData name="Dion3, Alain (SPAC/PSPC) (il-lui / he-him)" userId="b5972ad0-fee1-4393-9fd4-8bc589782ac7" providerId="ADAL" clId="{5D50F259-4704-4584-8F27-B0F493E0DAF2}" dt="2024-11-05T14:13:53.858" v="404" actId="790"/>
          <ac:spMkLst>
            <pc:docMk/>
            <pc:sldMk cId="1022071146" sldId="5154"/>
            <ac:spMk id="63" creationId="{9EF6C6AC-EACC-775A-A522-D3F0B539A731}"/>
          </ac:spMkLst>
        </pc:spChg>
        <pc:spChg chg="mod">
          <ac:chgData name="Dion3, Alain (SPAC/PSPC) (il-lui / he-him)" userId="b5972ad0-fee1-4393-9fd4-8bc589782ac7" providerId="ADAL" clId="{5D50F259-4704-4584-8F27-B0F493E0DAF2}" dt="2024-11-05T14:13:53.858" v="404" actId="790"/>
          <ac:spMkLst>
            <pc:docMk/>
            <pc:sldMk cId="1022071146" sldId="5154"/>
            <ac:spMk id="64" creationId="{753D1356-E641-08F0-A7BF-D43488B0F670}"/>
          </ac:spMkLst>
        </pc:spChg>
        <pc:spChg chg="mod">
          <ac:chgData name="Dion3, Alain (SPAC/PSPC) (il-lui / he-him)" userId="b5972ad0-fee1-4393-9fd4-8bc589782ac7" providerId="ADAL" clId="{5D50F259-4704-4584-8F27-B0F493E0DAF2}" dt="2024-11-05T14:13:53.858" v="404" actId="790"/>
          <ac:spMkLst>
            <pc:docMk/>
            <pc:sldMk cId="1022071146" sldId="5154"/>
            <ac:spMk id="65" creationId="{FC5202A0-3821-48D2-A1FE-93D546BB1D4C}"/>
          </ac:spMkLst>
        </pc:spChg>
        <pc:spChg chg="mod">
          <ac:chgData name="Dion3, Alain (SPAC/PSPC) (il-lui / he-him)" userId="b5972ad0-fee1-4393-9fd4-8bc589782ac7" providerId="ADAL" clId="{5D50F259-4704-4584-8F27-B0F493E0DAF2}" dt="2024-11-05T14:13:53.858" v="404" actId="790"/>
          <ac:spMkLst>
            <pc:docMk/>
            <pc:sldMk cId="1022071146" sldId="5154"/>
            <ac:spMk id="78" creationId="{057E7B1D-D7C7-9460-3484-E41EF154A9B2}"/>
          </ac:spMkLst>
        </pc:spChg>
        <pc:spChg chg="mod">
          <ac:chgData name="Dion3, Alain (SPAC/PSPC) (il-lui / he-him)" userId="b5972ad0-fee1-4393-9fd4-8bc589782ac7" providerId="ADAL" clId="{5D50F259-4704-4584-8F27-B0F493E0DAF2}" dt="2024-11-05T14:13:53.858" v="404" actId="790"/>
          <ac:spMkLst>
            <pc:docMk/>
            <pc:sldMk cId="1022071146" sldId="5154"/>
            <ac:spMk id="79" creationId="{8FCD9700-1C2E-305F-C2D7-D1F22165A204}"/>
          </ac:spMkLst>
        </pc:spChg>
        <pc:spChg chg="mod">
          <ac:chgData name="Dion3, Alain (SPAC/PSPC) (il-lui / he-him)" userId="b5972ad0-fee1-4393-9fd4-8bc589782ac7" providerId="ADAL" clId="{5D50F259-4704-4584-8F27-B0F493E0DAF2}" dt="2024-11-05T14:13:53.858" v="404" actId="790"/>
          <ac:spMkLst>
            <pc:docMk/>
            <pc:sldMk cId="1022071146" sldId="5154"/>
            <ac:spMk id="80" creationId="{AA9F00D5-1806-DACE-5D3E-92DD37C22826}"/>
          </ac:spMkLst>
        </pc:spChg>
        <pc:spChg chg="mod">
          <ac:chgData name="Dion3, Alain (SPAC/PSPC) (il-lui / he-him)" userId="b5972ad0-fee1-4393-9fd4-8bc589782ac7" providerId="ADAL" clId="{5D50F259-4704-4584-8F27-B0F493E0DAF2}" dt="2024-11-05T14:13:53.858" v="404" actId="790"/>
          <ac:spMkLst>
            <pc:docMk/>
            <pc:sldMk cId="1022071146" sldId="5154"/>
            <ac:spMk id="81" creationId="{91B53DBD-4316-9F02-791B-A39F96719240}"/>
          </ac:spMkLst>
        </pc:spChg>
        <pc:spChg chg="mod">
          <ac:chgData name="Dion3, Alain (SPAC/PSPC) (il-lui / he-him)" userId="b5972ad0-fee1-4393-9fd4-8bc589782ac7" providerId="ADAL" clId="{5D50F259-4704-4584-8F27-B0F493E0DAF2}" dt="2024-11-05T14:13:53.858" v="404" actId="790"/>
          <ac:spMkLst>
            <pc:docMk/>
            <pc:sldMk cId="1022071146" sldId="5154"/>
            <ac:spMk id="82" creationId="{6667D5C5-60C1-EF39-A34A-68A894525C14}"/>
          </ac:spMkLst>
        </pc:spChg>
        <pc:spChg chg="mod">
          <ac:chgData name="Dion3, Alain (SPAC/PSPC) (il-lui / he-him)" userId="b5972ad0-fee1-4393-9fd4-8bc589782ac7" providerId="ADAL" clId="{5D50F259-4704-4584-8F27-B0F493E0DAF2}" dt="2024-11-05T14:13:53.858" v="404" actId="790"/>
          <ac:spMkLst>
            <pc:docMk/>
            <pc:sldMk cId="1022071146" sldId="5154"/>
            <ac:spMk id="83" creationId="{BD636ECB-7C44-CBB6-D835-F5EEC0FDB5E7}"/>
          </ac:spMkLst>
        </pc:spChg>
        <pc:spChg chg="mod">
          <ac:chgData name="Dion3, Alain (SPAC/PSPC) (il-lui / he-him)" userId="b5972ad0-fee1-4393-9fd4-8bc589782ac7" providerId="ADAL" clId="{5D50F259-4704-4584-8F27-B0F493E0DAF2}" dt="2024-11-05T14:13:53.858" v="404" actId="790"/>
          <ac:spMkLst>
            <pc:docMk/>
            <pc:sldMk cId="1022071146" sldId="5154"/>
            <ac:spMk id="84" creationId="{2B0328CC-C16A-56CA-D000-EA18226D76E5}"/>
          </ac:spMkLst>
        </pc:spChg>
        <pc:spChg chg="mod">
          <ac:chgData name="Dion3, Alain (SPAC/PSPC) (il-lui / he-him)" userId="b5972ad0-fee1-4393-9fd4-8bc589782ac7" providerId="ADAL" clId="{5D50F259-4704-4584-8F27-B0F493E0DAF2}" dt="2024-11-05T14:13:53.858" v="404" actId="790"/>
          <ac:spMkLst>
            <pc:docMk/>
            <pc:sldMk cId="1022071146" sldId="5154"/>
            <ac:spMk id="85" creationId="{5BF43345-89A2-8BD1-AAB5-685CC2838D7D}"/>
          </ac:spMkLst>
        </pc:spChg>
        <pc:spChg chg="mod">
          <ac:chgData name="Dion3, Alain (SPAC/PSPC) (il-lui / he-him)" userId="b5972ad0-fee1-4393-9fd4-8bc589782ac7" providerId="ADAL" clId="{5D50F259-4704-4584-8F27-B0F493E0DAF2}" dt="2024-11-05T14:13:53.858" v="404" actId="790"/>
          <ac:spMkLst>
            <pc:docMk/>
            <pc:sldMk cId="1022071146" sldId="5154"/>
            <ac:spMk id="86" creationId="{36F3A7BC-2D1A-741B-822A-079CEF79C39F}"/>
          </ac:spMkLst>
        </pc:spChg>
        <pc:spChg chg="mod">
          <ac:chgData name="Dion3, Alain (SPAC/PSPC) (il-lui / he-him)" userId="b5972ad0-fee1-4393-9fd4-8bc589782ac7" providerId="ADAL" clId="{5D50F259-4704-4584-8F27-B0F493E0DAF2}" dt="2024-11-05T14:13:53.858" v="404" actId="790"/>
          <ac:spMkLst>
            <pc:docMk/>
            <pc:sldMk cId="1022071146" sldId="5154"/>
            <ac:spMk id="87" creationId="{A98FC754-5F9D-A6AB-8070-6E366FA59DE0}"/>
          </ac:spMkLst>
        </pc:spChg>
        <pc:spChg chg="mod">
          <ac:chgData name="Dion3, Alain (SPAC/PSPC) (il-lui / he-him)" userId="b5972ad0-fee1-4393-9fd4-8bc589782ac7" providerId="ADAL" clId="{5D50F259-4704-4584-8F27-B0F493E0DAF2}" dt="2024-11-05T14:13:53.858" v="404" actId="790"/>
          <ac:spMkLst>
            <pc:docMk/>
            <pc:sldMk cId="1022071146" sldId="5154"/>
            <ac:spMk id="88" creationId="{A6684F48-A2FE-496D-6BD2-6AF0B6FF503C}"/>
          </ac:spMkLst>
        </pc:spChg>
        <pc:spChg chg="mod">
          <ac:chgData name="Dion3, Alain (SPAC/PSPC) (il-lui / he-him)" userId="b5972ad0-fee1-4393-9fd4-8bc589782ac7" providerId="ADAL" clId="{5D50F259-4704-4584-8F27-B0F493E0DAF2}" dt="2024-11-05T14:13:53.858" v="404" actId="790"/>
          <ac:spMkLst>
            <pc:docMk/>
            <pc:sldMk cId="1022071146" sldId="5154"/>
            <ac:spMk id="89" creationId="{CF1A0002-EC31-0B3E-FF8A-584706C6E1CD}"/>
          </ac:spMkLst>
        </pc:spChg>
      </pc:sldChg>
      <pc:sldChg chg="modNotesTx">
        <pc:chgData name="Dion3, Alain (SPAC/PSPC) (il-lui / he-him)" userId="b5972ad0-fee1-4393-9fd4-8bc589782ac7" providerId="ADAL" clId="{5D50F259-4704-4584-8F27-B0F493E0DAF2}" dt="2024-11-05T14:24:59.353" v="468" actId="20577"/>
        <pc:sldMkLst>
          <pc:docMk/>
          <pc:sldMk cId="127833343" sldId="5156"/>
        </pc:sldMkLst>
      </pc:sldChg>
      <pc:sldChg chg="modNotesTx">
        <pc:chgData name="Dion3, Alain (SPAC/PSPC) (il-lui / he-him)" userId="b5972ad0-fee1-4393-9fd4-8bc589782ac7" providerId="ADAL" clId="{5D50F259-4704-4584-8F27-B0F493E0DAF2}" dt="2024-11-05T14:32:03.932" v="569" actId="20577"/>
        <pc:sldMkLst>
          <pc:docMk/>
          <pc:sldMk cId="1906248257" sldId="5157"/>
        </pc:sldMkLst>
      </pc:sldChg>
      <pc:sldChg chg="modSp mod">
        <pc:chgData name="Dion3, Alain (SPAC/PSPC) (il-lui / he-him)" userId="b5972ad0-fee1-4393-9fd4-8bc589782ac7" providerId="ADAL" clId="{5D50F259-4704-4584-8F27-B0F493E0DAF2}" dt="2024-11-04T18:10:36.402" v="46" actId="20577"/>
        <pc:sldMkLst>
          <pc:docMk/>
          <pc:sldMk cId="630006528" sldId="5162"/>
        </pc:sldMkLst>
        <pc:spChg chg="mod">
          <ac:chgData name="Dion3, Alain (SPAC/PSPC) (il-lui / he-him)" userId="b5972ad0-fee1-4393-9fd4-8bc589782ac7" providerId="ADAL" clId="{5D50F259-4704-4584-8F27-B0F493E0DAF2}" dt="2024-11-04T18:10:36.402" v="46" actId="20577"/>
          <ac:spMkLst>
            <pc:docMk/>
            <pc:sldMk cId="630006528" sldId="5162"/>
            <ac:spMk id="2" creationId="{E2A90173-C9BE-15AB-2F1B-343129698A10}"/>
          </ac:spMkLst>
        </pc:spChg>
      </pc:sldChg>
      <pc:sldChg chg="modSp mod">
        <pc:chgData name="Dion3, Alain (SPAC/PSPC) (il-lui / he-him)" userId="b5972ad0-fee1-4393-9fd4-8bc589782ac7" providerId="ADAL" clId="{5D50F259-4704-4584-8F27-B0F493E0DAF2}" dt="2024-11-05T14:28:39.603" v="493" actId="20577"/>
        <pc:sldMkLst>
          <pc:docMk/>
          <pc:sldMk cId="416905842" sldId="5163"/>
        </pc:sldMkLst>
        <pc:spChg chg="mod">
          <ac:chgData name="Dion3, Alain (SPAC/PSPC) (il-lui / he-him)" userId="b5972ad0-fee1-4393-9fd4-8bc589782ac7" providerId="ADAL" clId="{5D50F259-4704-4584-8F27-B0F493E0DAF2}" dt="2024-11-05T14:25:24.121" v="476" actId="20577"/>
          <ac:spMkLst>
            <pc:docMk/>
            <pc:sldMk cId="416905842" sldId="5163"/>
            <ac:spMk id="4" creationId="{6E84A27E-2844-316E-6672-1236545BDBDC}"/>
          </ac:spMkLst>
        </pc:spChg>
        <pc:spChg chg="mod">
          <ac:chgData name="Dion3, Alain (SPAC/PSPC) (il-lui / he-him)" userId="b5972ad0-fee1-4393-9fd4-8bc589782ac7" providerId="ADAL" clId="{5D50F259-4704-4584-8F27-B0F493E0DAF2}" dt="2024-11-05T14:28:39.603" v="493" actId="20577"/>
          <ac:spMkLst>
            <pc:docMk/>
            <pc:sldMk cId="416905842" sldId="5163"/>
            <ac:spMk id="6" creationId="{1EEE46AB-E199-BFF5-8717-7CE4227F668E}"/>
          </ac:spMkLst>
        </pc:spChg>
      </pc:sldChg>
      <pc:sldChg chg="modSp mod modCm">
        <pc:chgData name="Dion3, Alain (SPAC/PSPC) (il-lui / he-him)" userId="b5972ad0-fee1-4393-9fd4-8bc589782ac7" providerId="ADAL" clId="{5D50F259-4704-4584-8F27-B0F493E0DAF2}" dt="2024-11-04T18:14:04.259" v="117" actId="20577"/>
        <pc:sldMkLst>
          <pc:docMk/>
          <pc:sldMk cId="2643018674" sldId="5164"/>
        </pc:sldMkLst>
        <pc:spChg chg="mod">
          <ac:chgData name="Dion3, Alain (SPAC/PSPC) (il-lui / he-him)" userId="b5972ad0-fee1-4393-9fd4-8bc589782ac7" providerId="ADAL" clId="{5D50F259-4704-4584-8F27-B0F493E0DAF2}" dt="2024-11-04T18:12:31.338" v="75" actId="790"/>
          <ac:spMkLst>
            <pc:docMk/>
            <pc:sldMk cId="2643018674" sldId="5164"/>
            <ac:spMk id="3" creationId="{41BE6B50-88EB-D2A5-67D3-AD36A9027E26}"/>
          </ac:spMkLst>
        </pc:spChg>
        <pc:spChg chg="mod">
          <ac:chgData name="Dion3, Alain (SPAC/PSPC) (il-lui / he-him)" userId="b5972ad0-fee1-4393-9fd4-8bc589782ac7" providerId="ADAL" clId="{5D50F259-4704-4584-8F27-B0F493E0DAF2}" dt="2024-11-04T18:12:31.338" v="75" actId="790"/>
          <ac:spMkLst>
            <pc:docMk/>
            <pc:sldMk cId="2643018674" sldId="5164"/>
            <ac:spMk id="5" creationId="{D0DACE9A-1229-9EEE-A180-51B071D4E977}"/>
          </ac:spMkLst>
        </pc:spChg>
        <pc:spChg chg="mod">
          <ac:chgData name="Dion3, Alain (SPAC/PSPC) (il-lui / he-him)" userId="b5972ad0-fee1-4393-9fd4-8bc589782ac7" providerId="ADAL" clId="{5D50F259-4704-4584-8F27-B0F493E0DAF2}" dt="2024-11-04T18:12:31.338" v="75" actId="790"/>
          <ac:spMkLst>
            <pc:docMk/>
            <pc:sldMk cId="2643018674" sldId="5164"/>
            <ac:spMk id="6" creationId="{C37AB966-CDBE-2C55-3F98-CA62BB152F01}"/>
          </ac:spMkLst>
        </pc:spChg>
        <pc:spChg chg="mod">
          <ac:chgData name="Dion3, Alain (SPAC/PSPC) (il-lui / he-him)" userId="b5972ad0-fee1-4393-9fd4-8bc589782ac7" providerId="ADAL" clId="{5D50F259-4704-4584-8F27-B0F493E0DAF2}" dt="2024-11-04T18:12:31.338" v="75" actId="790"/>
          <ac:spMkLst>
            <pc:docMk/>
            <pc:sldMk cId="2643018674" sldId="5164"/>
            <ac:spMk id="7" creationId="{C62EB4E4-F735-AD30-5AD4-F4E6B822F95C}"/>
          </ac:spMkLst>
        </pc:spChg>
        <pc:spChg chg="mod">
          <ac:chgData name="Dion3, Alain (SPAC/PSPC) (il-lui / he-him)" userId="b5972ad0-fee1-4393-9fd4-8bc589782ac7" providerId="ADAL" clId="{5D50F259-4704-4584-8F27-B0F493E0DAF2}" dt="2024-11-04T18:12:31.338" v="75" actId="790"/>
          <ac:spMkLst>
            <pc:docMk/>
            <pc:sldMk cId="2643018674" sldId="5164"/>
            <ac:spMk id="8" creationId="{44BC3EAC-3980-4F07-943B-6EC20B7A7BDE}"/>
          </ac:spMkLst>
        </pc:spChg>
        <pc:spChg chg="mod">
          <ac:chgData name="Dion3, Alain (SPAC/PSPC) (il-lui / he-him)" userId="b5972ad0-fee1-4393-9fd4-8bc589782ac7" providerId="ADAL" clId="{5D50F259-4704-4584-8F27-B0F493E0DAF2}" dt="2024-11-04T18:12:31.338" v="75" actId="790"/>
          <ac:spMkLst>
            <pc:docMk/>
            <pc:sldMk cId="2643018674" sldId="5164"/>
            <ac:spMk id="9" creationId="{AAE94596-646F-19F0-2DAB-4EB93FB2F7D0}"/>
          </ac:spMkLst>
        </pc:spChg>
        <pc:spChg chg="mod">
          <ac:chgData name="Dion3, Alain (SPAC/PSPC) (il-lui / he-him)" userId="b5972ad0-fee1-4393-9fd4-8bc589782ac7" providerId="ADAL" clId="{5D50F259-4704-4584-8F27-B0F493E0DAF2}" dt="2024-11-04T18:12:31.338" v="75" actId="790"/>
          <ac:spMkLst>
            <pc:docMk/>
            <pc:sldMk cId="2643018674" sldId="5164"/>
            <ac:spMk id="10" creationId="{DB8B833A-09AE-E2B0-B009-6B66BB533DDE}"/>
          </ac:spMkLst>
        </pc:spChg>
        <pc:spChg chg="mod">
          <ac:chgData name="Dion3, Alain (SPAC/PSPC) (il-lui / he-him)" userId="b5972ad0-fee1-4393-9fd4-8bc589782ac7" providerId="ADAL" clId="{5D50F259-4704-4584-8F27-B0F493E0DAF2}" dt="2024-11-04T18:14:04.259" v="117" actId="20577"/>
          <ac:spMkLst>
            <pc:docMk/>
            <pc:sldMk cId="2643018674" sldId="5164"/>
            <ac:spMk id="12" creationId="{6A3B9CD2-AFBF-BEF4-7CE5-AED963949FAC}"/>
          </ac:spMkLst>
        </pc:spChg>
        <pc:spChg chg="mod">
          <ac:chgData name="Dion3, Alain (SPAC/PSPC) (il-lui / he-him)" userId="b5972ad0-fee1-4393-9fd4-8bc589782ac7" providerId="ADAL" clId="{5D50F259-4704-4584-8F27-B0F493E0DAF2}" dt="2024-11-04T18:12:31.338" v="75" actId="790"/>
          <ac:spMkLst>
            <pc:docMk/>
            <pc:sldMk cId="2643018674" sldId="5164"/>
            <ac:spMk id="22" creationId="{D584EBA7-CBDB-A407-2BDD-101FF8371B4B}"/>
          </ac:spMkLst>
        </pc:spChg>
        <pc:spChg chg="mod">
          <ac:chgData name="Dion3, Alain (SPAC/PSPC) (il-lui / he-him)" userId="b5972ad0-fee1-4393-9fd4-8bc589782ac7" providerId="ADAL" clId="{5D50F259-4704-4584-8F27-B0F493E0DAF2}" dt="2024-11-04T18:12:31.338" v="75" actId="790"/>
          <ac:spMkLst>
            <pc:docMk/>
            <pc:sldMk cId="2643018674" sldId="5164"/>
            <ac:spMk id="24" creationId="{55E0100F-188C-1B9D-8084-05834FD5FF64}"/>
          </ac:spMkLst>
        </pc:spChg>
        <pc:spChg chg="mod">
          <ac:chgData name="Dion3, Alain (SPAC/PSPC) (il-lui / he-him)" userId="b5972ad0-fee1-4393-9fd4-8bc589782ac7" providerId="ADAL" clId="{5D50F259-4704-4584-8F27-B0F493E0DAF2}" dt="2024-11-04T18:12:31.338" v="75" actId="790"/>
          <ac:spMkLst>
            <pc:docMk/>
            <pc:sldMk cId="2643018674" sldId="5164"/>
            <ac:spMk id="25" creationId="{7E4519B3-99F1-CC09-4C1F-244341920E23}"/>
          </ac:spMkLst>
        </pc:spChg>
        <pc:spChg chg="mod">
          <ac:chgData name="Dion3, Alain (SPAC/PSPC) (il-lui / he-him)" userId="b5972ad0-fee1-4393-9fd4-8bc589782ac7" providerId="ADAL" clId="{5D50F259-4704-4584-8F27-B0F493E0DAF2}" dt="2024-11-04T18:12:31.338" v="75" actId="790"/>
          <ac:spMkLst>
            <pc:docMk/>
            <pc:sldMk cId="2643018674" sldId="5164"/>
            <ac:spMk id="27" creationId="{65E9AD83-F111-1708-33A6-EE8AFE212572}"/>
          </ac:spMkLst>
        </pc:spChg>
        <pc:spChg chg="mod">
          <ac:chgData name="Dion3, Alain (SPAC/PSPC) (il-lui / he-him)" userId="b5972ad0-fee1-4393-9fd4-8bc589782ac7" providerId="ADAL" clId="{5D50F259-4704-4584-8F27-B0F493E0DAF2}" dt="2024-11-04T18:12:31.338" v="75" actId="790"/>
          <ac:spMkLst>
            <pc:docMk/>
            <pc:sldMk cId="2643018674" sldId="5164"/>
            <ac:spMk id="28" creationId="{CB36570A-847F-6211-9E8D-F1FC8D86F233}"/>
          </ac:spMkLst>
        </pc:spChg>
        <pc:spChg chg="mod">
          <ac:chgData name="Dion3, Alain (SPAC/PSPC) (il-lui / he-him)" userId="b5972ad0-fee1-4393-9fd4-8bc589782ac7" providerId="ADAL" clId="{5D50F259-4704-4584-8F27-B0F493E0DAF2}" dt="2024-11-04T18:12:31.338" v="75" actId="790"/>
          <ac:spMkLst>
            <pc:docMk/>
            <pc:sldMk cId="2643018674" sldId="5164"/>
            <ac:spMk id="29" creationId="{A0E6025E-4C39-C492-A915-0923EEAF50C3}"/>
          </ac:spMkLst>
        </pc:spChg>
        <pc:spChg chg="mod">
          <ac:chgData name="Dion3, Alain (SPAC/PSPC) (il-lui / he-him)" userId="b5972ad0-fee1-4393-9fd4-8bc589782ac7" providerId="ADAL" clId="{5D50F259-4704-4584-8F27-B0F493E0DAF2}" dt="2024-11-04T18:12:31.338" v="75" actId="790"/>
          <ac:spMkLst>
            <pc:docMk/>
            <pc:sldMk cId="2643018674" sldId="5164"/>
            <ac:spMk id="30" creationId="{AAAE6B21-C3F0-6199-D232-26038649B816}"/>
          </ac:spMkLst>
        </pc:spChg>
        <pc:spChg chg="mod">
          <ac:chgData name="Dion3, Alain (SPAC/PSPC) (il-lui / he-him)" userId="b5972ad0-fee1-4393-9fd4-8bc589782ac7" providerId="ADAL" clId="{5D50F259-4704-4584-8F27-B0F493E0DAF2}" dt="2024-11-04T18:12:31.338" v="75" actId="790"/>
          <ac:spMkLst>
            <pc:docMk/>
            <pc:sldMk cId="2643018674" sldId="5164"/>
            <ac:spMk id="31" creationId="{89E509A3-75F3-8F87-9867-A8DE1833F316}"/>
          </ac:spMkLst>
        </pc:spChg>
        <pc:spChg chg="mod">
          <ac:chgData name="Dion3, Alain (SPAC/PSPC) (il-lui / he-him)" userId="b5972ad0-fee1-4393-9fd4-8bc589782ac7" providerId="ADAL" clId="{5D50F259-4704-4584-8F27-B0F493E0DAF2}" dt="2024-11-04T18:12:31.338" v="75" actId="790"/>
          <ac:spMkLst>
            <pc:docMk/>
            <pc:sldMk cId="2643018674" sldId="5164"/>
            <ac:spMk id="32" creationId="{ECF0CEEC-AB10-73F8-FF53-285777A5B406}"/>
          </ac:spMkLst>
        </pc:spChg>
        <pc:spChg chg="mod">
          <ac:chgData name="Dion3, Alain (SPAC/PSPC) (il-lui / he-him)" userId="b5972ad0-fee1-4393-9fd4-8bc589782ac7" providerId="ADAL" clId="{5D50F259-4704-4584-8F27-B0F493E0DAF2}" dt="2024-11-04T18:12:31.338" v="75" actId="790"/>
          <ac:spMkLst>
            <pc:docMk/>
            <pc:sldMk cId="2643018674" sldId="5164"/>
            <ac:spMk id="33" creationId="{0FCF7426-61A4-CE77-0571-2803ED7E58A4}"/>
          </ac:spMkLst>
        </pc:spChg>
        <pc:spChg chg="mod">
          <ac:chgData name="Dion3, Alain (SPAC/PSPC) (il-lui / he-him)" userId="b5972ad0-fee1-4393-9fd4-8bc589782ac7" providerId="ADAL" clId="{5D50F259-4704-4584-8F27-B0F493E0DAF2}" dt="2024-11-04T18:12:31.338" v="75" actId="790"/>
          <ac:spMkLst>
            <pc:docMk/>
            <pc:sldMk cId="2643018674" sldId="5164"/>
            <ac:spMk id="34" creationId="{FA3BA803-3597-2254-D69E-CD3D12F6567E}"/>
          </ac:spMkLst>
        </pc:spChg>
        <pc:spChg chg="mod">
          <ac:chgData name="Dion3, Alain (SPAC/PSPC) (il-lui / he-him)" userId="b5972ad0-fee1-4393-9fd4-8bc589782ac7" providerId="ADAL" clId="{5D50F259-4704-4584-8F27-B0F493E0DAF2}" dt="2024-11-04T18:12:31.338" v="75" actId="790"/>
          <ac:spMkLst>
            <pc:docMk/>
            <pc:sldMk cId="2643018674" sldId="5164"/>
            <ac:spMk id="35" creationId="{93B4F391-5FE1-2DEB-CFAE-4D5EDFFA556E}"/>
          </ac:spMkLst>
        </pc:spChg>
        <pc:spChg chg="mod">
          <ac:chgData name="Dion3, Alain (SPAC/PSPC) (il-lui / he-him)" userId="b5972ad0-fee1-4393-9fd4-8bc589782ac7" providerId="ADAL" clId="{5D50F259-4704-4584-8F27-B0F493E0DAF2}" dt="2024-11-04T18:12:31.338" v="75" actId="790"/>
          <ac:spMkLst>
            <pc:docMk/>
            <pc:sldMk cId="2643018674" sldId="5164"/>
            <ac:spMk id="36" creationId="{59532803-71DA-1110-F913-BCDFFF195AA2}"/>
          </ac:spMkLst>
        </pc:spChg>
        <pc:spChg chg="mod">
          <ac:chgData name="Dion3, Alain (SPAC/PSPC) (il-lui / he-him)" userId="b5972ad0-fee1-4393-9fd4-8bc589782ac7" providerId="ADAL" clId="{5D50F259-4704-4584-8F27-B0F493E0DAF2}" dt="2024-11-04T18:12:31.338" v="75" actId="790"/>
          <ac:spMkLst>
            <pc:docMk/>
            <pc:sldMk cId="2643018674" sldId="5164"/>
            <ac:spMk id="37" creationId="{94A45180-175A-1288-BEF0-14A28278F207}"/>
          </ac:spMkLst>
        </pc:spChg>
        <pc:spChg chg="mod">
          <ac:chgData name="Dion3, Alain (SPAC/PSPC) (il-lui / he-him)" userId="b5972ad0-fee1-4393-9fd4-8bc589782ac7" providerId="ADAL" clId="{5D50F259-4704-4584-8F27-B0F493E0DAF2}" dt="2024-11-04T18:12:31.338" v="75" actId="790"/>
          <ac:spMkLst>
            <pc:docMk/>
            <pc:sldMk cId="2643018674" sldId="5164"/>
            <ac:spMk id="38" creationId="{F54DE717-ED71-3083-7314-4CD9D1EEF68D}"/>
          </ac:spMkLst>
        </pc:spChg>
        <pc:spChg chg="mod">
          <ac:chgData name="Dion3, Alain (SPAC/PSPC) (il-lui / he-him)" userId="b5972ad0-fee1-4393-9fd4-8bc589782ac7" providerId="ADAL" clId="{5D50F259-4704-4584-8F27-B0F493E0DAF2}" dt="2024-11-04T18:12:31.338" v="75" actId="790"/>
          <ac:spMkLst>
            <pc:docMk/>
            <pc:sldMk cId="2643018674" sldId="5164"/>
            <ac:spMk id="39" creationId="{0A9CADB0-5230-F233-24FF-594559B7912B}"/>
          </ac:spMkLst>
        </pc:spChg>
        <pc:spChg chg="mod">
          <ac:chgData name="Dion3, Alain (SPAC/PSPC) (il-lui / he-him)" userId="b5972ad0-fee1-4393-9fd4-8bc589782ac7" providerId="ADAL" clId="{5D50F259-4704-4584-8F27-B0F493E0DAF2}" dt="2024-11-04T18:12:31.338" v="75" actId="790"/>
          <ac:spMkLst>
            <pc:docMk/>
            <pc:sldMk cId="2643018674" sldId="5164"/>
            <ac:spMk id="40" creationId="{1B407058-991F-EA26-99EE-3547CE642656}"/>
          </ac:spMkLst>
        </pc:spChg>
        <pc:spChg chg="mod">
          <ac:chgData name="Dion3, Alain (SPAC/PSPC) (il-lui / he-him)" userId="b5972ad0-fee1-4393-9fd4-8bc589782ac7" providerId="ADAL" clId="{5D50F259-4704-4584-8F27-B0F493E0DAF2}" dt="2024-11-04T18:12:31.338" v="75" actId="790"/>
          <ac:spMkLst>
            <pc:docMk/>
            <pc:sldMk cId="2643018674" sldId="5164"/>
            <ac:spMk id="41" creationId="{E9EE14A2-571E-EE6E-80E4-9E70EE820063}"/>
          </ac:spMkLst>
        </pc:spChg>
        <pc:spChg chg="mod">
          <ac:chgData name="Dion3, Alain (SPAC/PSPC) (il-lui / he-him)" userId="b5972ad0-fee1-4393-9fd4-8bc589782ac7" providerId="ADAL" clId="{5D50F259-4704-4584-8F27-B0F493E0DAF2}" dt="2024-11-04T18:12:31.338" v="75" actId="790"/>
          <ac:spMkLst>
            <pc:docMk/>
            <pc:sldMk cId="2643018674" sldId="5164"/>
            <ac:spMk id="42" creationId="{DA1B0F08-AC42-81A8-48B4-A009F9707157}"/>
          </ac:spMkLst>
        </pc:spChg>
        <pc:spChg chg="mod">
          <ac:chgData name="Dion3, Alain (SPAC/PSPC) (il-lui / he-him)" userId="b5972ad0-fee1-4393-9fd4-8bc589782ac7" providerId="ADAL" clId="{5D50F259-4704-4584-8F27-B0F493E0DAF2}" dt="2024-11-04T18:12:31.338" v="75" actId="790"/>
          <ac:spMkLst>
            <pc:docMk/>
            <pc:sldMk cId="2643018674" sldId="5164"/>
            <ac:spMk id="43" creationId="{06E350D4-531C-9E88-E71B-AD07ED026359}"/>
          </ac:spMkLst>
        </pc:spChg>
        <pc:spChg chg="mod">
          <ac:chgData name="Dion3, Alain (SPAC/PSPC) (il-lui / he-him)" userId="b5972ad0-fee1-4393-9fd4-8bc589782ac7" providerId="ADAL" clId="{5D50F259-4704-4584-8F27-B0F493E0DAF2}" dt="2024-11-04T18:12:31.338" v="75" actId="790"/>
          <ac:spMkLst>
            <pc:docMk/>
            <pc:sldMk cId="2643018674" sldId="5164"/>
            <ac:spMk id="44" creationId="{E1A37DB1-37E6-480D-F6A3-4B4B43F9EED5}"/>
          </ac:spMkLst>
        </pc:spChg>
        <pc:spChg chg="mod">
          <ac:chgData name="Dion3, Alain (SPAC/PSPC) (il-lui / he-him)" userId="b5972ad0-fee1-4393-9fd4-8bc589782ac7" providerId="ADAL" clId="{5D50F259-4704-4584-8F27-B0F493E0DAF2}" dt="2024-11-04T18:12:31.338" v="75" actId="790"/>
          <ac:spMkLst>
            <pc:docMk/>
            <pc:sldMk cId="2643018674" sldId="5164"/>
            <ac:spMk id="45" creationId="{4B8B2B05-931F-4821-C654-43809A0C6398}"/>
          </ac:spMkLst>
        </pc:spChg>
        <pc:spChg chg="mod">
          <ac:chgData name="Dion3, Alain (SPAC/PSPC) (il-lui / he-him)" userId="b5972ad0-fee1-4393-9fd4-8bc589782ac7" providerId="ADAL" clId="{5D50F259-4704-4584-8F27-B0F493E0DAF2}" dt="2024-11-04T18:12:31.338" v="75" actId="790"/>
          <ac:spMkLst>
            <pc:docMk/>
            <pc:sldMk cId="2643018674" sldId="5164"/>
            <ac:spMk id="46" creationId="{E05CDB04-758F-A16E-0C7C-81482A944D84}"/>
          </ac:spMkLst>
        </pc:spChg>
        <pc:spChg chg="mod">
          <ac:chgData name="Dion3, Alain (SPAC/PSPC) (il-lui / he-him)" userId="b5972ad0-fee1-4393-9fd4-8bc589782ac7" providerId="ADAL" clId="{5D50F259-4704-4584-8F27-B0F493E0DAF2}" dt="2024-11-04T18:12:31.338" v="75" actId="790"/>
          <ac:spMkLst>
            <pc:docMk/>
            <pc:sldMk cId="2643018674" sldId="5164"/>
            <ac:spMk id="47" creationId="{41D15CB2-0185-C50E-B34A-7DC9BAFEC86E}"/>
          </ac:spMkLst>
        </pc:spChg>
        <pc:spChg chg="mod">
          <ac:chgData name="Dion3, Alain (SPAC/PSPC) (il-lui / he-him)" userId="b5972ad0-fee1-4393-9fd4-8bc589782ac7" providerId="ADAL" clId="{5D50F259-4704-4584-8F27-B0F493E0DAF2}" dt="2024-11-04T18:12:31.338" v="75" actId="790"/>
          <ac:spMkLst>
            <pc:docMk/>
            <pc:sldMk cId="2643018674" sldId="5164"/>
            <ac:spMk id="48" creationId="{75E7B4C9-F60F-E60D-1203-37883966A6FD}"/>
          </ac:spMkLst>
        </pc:spChg>
        <pc:spChg chg="mod">
          <ac:chgData name="Dion3, Alain (SPAC/PSPC) (il-lui / he-him)" userId="b5972ad0-fee1-4393-9fd4-8bc589782ac7" providerId="ADAL" clId="{5D50F259-4704-4584-8F27-B0F493E0DAF2}" dt="2024-11-04T18:12:31.338" v="75" actId="790"/>
          <ac:spMkLst>
            <pc:docMk/>
            <pc:sldMk cId="2643018674" sldId="5164"/>
            <ac:spMk id="49" creationId="{467CA39C-152F-D143-16E6-F0AEBF1F0EF6}"/>
          </ac:spMkLst>
        </pc:spChg>
        <pc:spChg chg="mod">
          <ac:chgData name="Dion3, Alain (SPAC/PSPC) (il-lui / he-him)" userId="b5972ad0-fee1-4393-9fd4-8bc589782ac7" providerId="ADAL" clId="{5D50F259-4704-4584-8F27-B0F493E0DAF2}" dt="2024-11-04T18:12:31.338" v="75" actId="790"/>
          <ac:spMkLst>
            <pc:docMk/>
            <pc:sldMk cId="2643018674" sldId="5164"/>
            <ac:spMk id="50" creationId="{169AFF5D-67CE-AA9F-C71D-910F3D59E065}"/>
          </ac:spMkLst>
        </pc:spChg>
        <pc:spChg chg="mod">
          <ac:chgData name="Dion3, Alain (SPAC/PSPC) (il-lui / he-him)" userId="b5972ad0-fee1-4393-9fd4-8bc589782ac7" providerId="ADAL" clId="{5D50F259-4704-4584-8F27-B0F493E0DAF2}" dt="2024-11-04T18:12:31.338" v="75" actId="790"/>
          <ac:spMkLst>
            <pc:docMk/>
            <pc:sldMk cId="2643018674" sldId="5164"/>
            <ac:spMk id="51" creationId="{17644F83-71B6-9560-AF3E-09A8872C809B}"/>
          </ac:spMkLst>
        </pc:spChg>
        <pc:spChg chg="mod">
          <ac:chgData name="Dion3, Alain (SPAC/PSPC) (il-lui / he-him)" userId="b5972ad0-fee1-4393-9fd4-8bc589782ac7" providerId="ADAL" clId="{5D50F259-4704-4584-8F27-B0F493E0DAF2}" dt="2024-11-04T18:12:31.338" v="75" actId="790"/>
          <ac:spMkLst>
            <pc:docMk/>
            <pc:sldMk cId="2643018674" sldId="5164"/>
            <ac:spMk id="52" creationId="{D9375901-672F-F732-57F8-D153D824344D}"/>
          </ac:spMkLst>
        </pc:spChg>
        <pc:spChg chg="mod">
          <ac:chgData name="Dion3, Alain (SPAC/PSPC) (il-lui / he-him)" userId="b5972ad0-fee1-4393-9fd4-8bc589782ac7" providerId="ADAL" clId="{5D50F259-4704-4584-8F27-B0F493E0DAF2}" dt="2024-11-04T18:12:31.338" v="75" actId="790"/>
          <ac:spMkLst>
            <pc:docMk/>
            <pc:sldMk cId="2643018674" sldId="5164"/>
            <ac:spMk id="53" creationId="{B9F6722B-6928-3A6A-BBB8-231A8B9E3259}"/>
          </ac:spMkLst>
        </pc:spChg>
        <pc:spChg chg="mod">
          <ac:chgData name="Dion3, Alain (SPAC/PSPC) (il-lui / he-him)" userId="b5972ad0-fee1-4393-9fd4-8bc589782ac7" providerId="ADAL" clId="{5D50F259-4704-4584-8F27-B0F493E0DAF2}" dt="2024-11-04T18:12:31.338" v="75" actId="790"/>
          <ac:spMkLst>
            <pc:docMk/>
            <pc:sldMk cId="2643018674" sldId="5164"/>
            <ac:spMk id="54" creationId="{15F08EEC-C863-3F61-556F-64BE7ED31590}"/>
          </ac:spMkLst>
        </pc:spChg>
        <pc:spChg chg="mod">
          <ac:chgData name="Dion3, Alain (SPAC/PSPC) (il-lui / he-him)" userId="b5972ad0-fee1-4393-9fd4-8bc589782ac7" providerId="ADAL" clId="{5D50F259-4704-4584-8F27-B0F493E0DAF2}" dt="2024-11-04T18:12:31.338" v="75" actId="790"/>
          <ac:spMkLst>
            <pc:docMk/>
            <pc:sldMk cId="2643018674" sldId="5164"/>
            <ac:spMk id="55" creationId="{731C5ADA-D8AA-6942-B963-257CD97AA0F9}"/>
          </ac:spMkLst>
        </pc:spChg>
        <pc:spChg chg="mod">
          <ac:chgData name="Dion3, Alain (SPAC/PSPC) (il-lui / he-him)" userId="b5972ad0-fee1-4393-9fd4-8bc589782ac7" providerId="ADAL" clId="{5D50F259-4704-4584-8F27-B0F493E0DAF2}" dt="2024-11-04T18:12:31.338" v="75" actId="790"/>
          <ac:spMkLst>
            <pc:docMk/>
            <pc:sldMk cId="2643018674" sldId="5164"/>
            <ac:spMk id="56" creationId="{6C95EF8D-478B-B864-D6F8-128D10DBE16A}"/>
          </ac:spMkLst>
        </pc:spChg>
        <pc:spChg chg="mod">
          <ac:chgData name="Dion3, Alain (SPAC/PSPC) (il-lui / he-him)" userId="b5972ad0-fee1-4393-9fd4-8bc589782ac7" providerId="ADAL" clId="{5D50F259-4704-4584-8F27-B0F493E0DAF2}" dt="2024-11-04T18:12:31.338" v="75" actId="790"/>
          <ac:spMkLst>
            <pc:docMk/>
            <pc:sldMk cId="2643018674" sldId="5164"/>
            <ac:spMk id="57" creationId="{816207AB-4332-E282-4740-48B60179E40B}"/>
          </ac:spMkLst>
        </pc:spChg>
        <pc:spChg chg="mod">
          <ac:chgData name="Dion3, Alain (SPAC/PSPC) (il-lui / he-him)" userId="b5972ad0-fee1-4393-9fd4-8bc589782ac7" providerId="ADAL" clId="{5D50F259-4704-4584-8F27-B0F493E0DAF2}" dt="2024-11-04T18:12:31.338" v="75" actId="790"/>
          <ac:spMkLst>
            <pc:docMk/>
            <pc:sldMk cId="2643018674" sldId="5164"/>
            <ac:spMk id="58" creationId="{DCF93223-AC8F-F71A-B2CD-96C59C41CF86}"/>
          </ac:spMkLst>
        </pc:spChg>
        <pc:spChg chg="mod">
          <ac:chgData name="Dion3, Alain (SPAC/PSPC) (il-lui / he-him)" userId="b5972ad0-fee1-4393-9fd4-8bc589782ac7" providerId="ADAL" clId="{5D50F259-4704-4584-8F27-B0F493E0DAF2}" dt="2024-11-04T18:12:31.338" v="75" actId="790"/>
          <ac:spMkLst>
            <pc:docMk/>
            <pc:sldMk cId="2643018674" sldId="5164"/>
            <ac:spMk id="59" creationId="{EA713421-7FA7-25D0-032C-C974F1F3841F}"/>
          </ac:spMkLst>
        </pc:spChg>
        <pc:spChg chg="mod">
          <ac:chgData name="Dion3, Alain (SPAC/PSPC) (il-lui / he-him)" userId="b5972ad0-fee1-4393-9fd4-8bc589782ac7" providerId="ADAL" clId="{5D50F259-4704-4584-8F27-B0F493E0DAF2}" dt="2024-11-04T18:12:31.338" v="75" actId="790"/>
          <ac:spMkLst>
            <pc:docMk/>
            <pc:sldMk cId="2643018674" sldId="5164"/>
            <ac:spMk id="60" creationId="{8A37BC0E-C32F-FF48-941E-D60AD0227F5D}"/>
          </ac:spMkLst>
        </pc:spChg>
        <pc:spChg chg="mod">
          <ac:chgData name="Dion3, Alain (SPAC/PSPC) (il-lui / he-him)" userId="b5972ad0-fee1-4393-9fd4-8bc589782ac7" providerId="ADAL" clId="{5D50F259-4704-4584-8F27-B0F493E0DAF2}" dt="2024-11-04T18:12:31.338" v="75" actId="790"/>
          <ac:spMkLst>
            <pc:docMk/>
            <pc:sldMk cId="2643018674" sldId="5164"/>
            <ac:spMk id="61" creationId="{3CC2548D-A9D4-809D-5138-69D680046072}"/>
          </ac:spMkLst>
        </pc:spChg>
        <pc:spChg chg="mod">
          <ac:chgData name="Dion3, Alain (SPAC/PSPC) (il-lui / he-him)" userId="b5972ad0-fee1-4393-9fd4-8bc589782ac7" providerId="ADAL" clId="{5D50F259-4704-4584-8F27-B0F493E0DAF2}" dt="2024-11-04T18:12:31.338" v="75" actId="790"/>
          <ac:spMkLst>
            <pc:docMk/>
            <pc:sldMk cId="2643018674" sldId="5164"/>
            <ac:spMk id="62" creationId="{308C2919-034B-E990-F46C-54F7529BB2C5}"/>
          </ac:spMkLst>
        </pc:spChg>
        <pc:spChg chg="mod">
          <ac:chgData name="Dion3, Alain (SPAC/PSPC) (il-lui / he-him)" userId="b5972ad0-fee1-4393-9fd4-8bc589782ac7" providerId="ADAL" clId="{5D50F259-4704-4584-8F27-B0F493E0DAF2}" dt="2024-11-04T18:12:31.338" v="75" actId="790"/>
          <ac:spMkLst>
            <pc:docMk/>
            <pc:sldMk cId="2643018674" sldId="5164"/>
            <ac:spMk id="63" creationId="{DA5F4491-E61A-07F2-0208-60274B9E6707}"/>
          </ac:spMkLst>
        </pc:spChg>
        <pc:spChg chg="mod">
          <ac:chgData name="Dion3, Alain (SPAC/PSPC) (il-lui / he-him)" userId="b5972ad0-fee1-4393-9fd4-8bc589782ac7" providerId="ADAL" clId="{5D50F259-4704-4584-8F27-B0F493E0DAF2}" dt="2024-11-04T18:12:31.338" v="75" actId="790"/>
          <ac:spMkLst>
            <pc:docMk/>
            <pc:sldMk cId="2643018674" sldId="5164"/>
            <ac:spMk id="64" creationId="{07095B1B-CF08-8CAF-A324-30985537A043}"/>
          </ac:spMkLst>
        </pc:spChg>
        <pc:spChg chg="mod">
          <ac:chgData name="Dion3, Alain (SPAC/PSPC) (il-lui / he-him)" userId="b5972ad0-fee1-4393-9fd4-8bc589782ac7" providerId="ADAL" clId="{5D50F259-4704-4584-8F27-B0F493E0DAF2}" dt="2024-11-04T18:12:31.338" v="75" actId="790"/>
          <ac:spMkLst>
            <pc:docMk/>
            <pc:sldMk cId="2643018674" sldId="5164"/>
            <ac:spMk id="65" creationId="{63DCCFF5-A839-38FB-1D37-132A92D472C1}"/>
          </ac:spMkLst>
        </pc:spChg>
        <pc:spChg chg="mod">
          <ac:chgData name="Dion3, Alain (SPAC/PSPC) (il-lui / he-him)" userId="b5972ad0-fee1-4393-9fd4-8bc589782ac7" providerId="ADAL" clId="{5D50F259-4704-4584-8F27-B0F493E0DAF2}" dt="2024-11-04T18:12:31.338" v="75" actId="790"/>
          <ac:spMkLst>
            <pc:docMk/>
            <pc:sldMk cId="2643018674" sldId="5164"/>
            <ac:spMk id="66" creationId="{244FED0A-5548-C9BD-83C4-8A71A61A4405}"/>
          </ac:spMkLst>
        </pc:spChg>
        <pc:spChg chg="mod">
          <ac:chgData name="Dion3, Alain (SPAC/PSPC) (il-lui / he-him)" userId="b5972ad0-fee1-4393-9fd4-8bc589782ac7" providerId="ADAL" clId="{5D50F259-4704-4584-8F27-B0F493E0DAF2}" dt="2024-11-04T18:12:31.338" v="75" actId="790"/>
          <ac:spMkLst>
            <pc:docMk/>
            <pc:sldMk cId="2643018674" sldId="5164"/>
            <ac:spMk id="67" creationId="{B1258444-2B11-A1B0-2A18-A67A25E28034}"/>
          </ac:spMkLst>
        </pc:spChg>
        <pc:spChg chg="mod">
          <ac:chgData name="Dion3, Alain (SPAC/PSPC) (il-lui / he-him)" userId="b5972ad0-fee1-4393-9fd4-8bc589782ac7" providerId="ADAL" clId="{5D50F259-4704-4584-8F27-B0F493E0DAF2}" dt="2024-11-04T18:12:31.338" v="75" actId="790"/>
          <ac:spMkLst>
            <pc:docMk/>
            <pc:sldMk cId="2643018674" sldId="5164"/>
            <ac:spMk id="68" creationId="{AF06FDE0-3596-1A96-94A8-B82FAFB78ACC}"/>
          </ac:spMkLst>
        </pc:spChg>
        <pc:spChg chg="mod">
          <ac:chgData name="Dion3, Alain (SPAC/PSPC) (il-lui / he-him)" userId="b5972ad0-fee1-4393-9fd4-8bc589782ac7" providerId="ADAL" clId="{5D50F259-4704-4584-8F27-B0F493E0DAF2}" dt="2024-11-04T18:12:31.338" v="75" actId="790"/>
          <ac:spMkLst>
            <pc:docMk/>
            <pc:sldMk cId="2643018674" sldId="5164"/>
            <ac:spMk id="69" creationId="{F4A13062-53F2-6F84-B496-2634DB2E87AF}"/>
          </ac:spMkLst>
        </pc:spChg>
        <pc:spChg chg="mod">
          <ac:chgData name="Dion3, Alain (SPAC/PSPC) (il-lui / he-him)" userId="b5972ad0-fee1-4393-9fd4-8bc589782ac7" providerId="ADAL" clId="{5D50F259-4704-4584-8F27-B0F493E0DAF2}" dt="2024-11-04T18:12:31.338" v="75" actId="790"/>
          <ac:spMkLst>
            <pc:docMk/>
            <pc:sldMk cId="2643018674" sldId="5164"/>
            <ac:spMk id="70" creationId="{48FE0CE4-8128-A030-4177-E94AA3CC9B94}"/>
          </ac:spMkLst>
        </pc:spChg>
        <pc:spChg chg="mod">
          <ac:chgData name="Dion3, Alain (SPAC/PSPC) (il-lui / he-him)" userId="b5972ad0-fee1-4393-9fd4-8bc589782ac7" providerId="ADAL" clId="{5D50F259-4704-4584-8F27-B0F493E0DAF2}" dt="2024-11-04T18:12:31.338" v="75" actId="790"/>
          <ac:spMkLst>
            <pc:docMk/>
            <pc:sldMk cId="2643018674" sldId="5164"/>
            <ac:spMk id="71" creationId="{7028C89E-7266-12B8-5E10-8C399FCFA7CF}"/>
          </ac:spMkLst>
        </pc:spChg>
        <pc:extLst>
          <p:ext xmlns:p="http://schemas.openxmlformats.org/presentationml/2006/main" uri="{D6D511B9-2390-475A-947B-AFAB55BFBCF1}">
            <pc226:cmChg xmlns:pc226="http://schemas.microsoft.com/office/powerpoint/2022/06/main/command" chg="mod">
              <pc226:chgData name="Dion3, Alain (SPAC/PSPC) (il-lui / he-him)" userId="b5972ad0-fee1-4393-9fd4-8bc589782ac7" providerId="ADAL" clId="{5D50F259-4704-4584-8F27-B0F493E0DAF2}" dt="2024-11-04T18:14:04.259" v="117" actId="20577"/>
              <pc2:cmMkLst xmlns:pc2="http://schemas.microsoft.com/office/powerpoint/2019/9/main/command">
                <pc:docMk/>
                <pc:sldMk cId="2643018674" sldId="5164"/>
                <pc2:cmMk id="{7F132811-33D1-4F42-BA40-C42C7B67BD9D}"/>
              </pc2:cmMkLst>
            </pc226:cmChg>
          </p:ext>
        </pc:extLst>
      </pc:sldChg>
      <pc:sldChg chg="modSp mod">
        <pc:chgData name="Dion3, Alain (SPAC/PSPC) (il-lui / he-him)" userId="b5972ad0-fee1-4393-9fd4-8bc589782ac7" providerId="ADAL" clId="{5D50F259-4704-4584-8F27-B0F493E0DAF2}" dt="2024-11-05T13:13:38.414" v="267" actId="20577"/>
        <pc:sldMkLst>
          <pc:docMk/>
          <pc:sldMk cId="951449358" sldId="5166"/>
        </pc:sldMkLst>
        <pc:spChg chg="mod">
          <ac:chgData name="Dion3, Alain (SPAC/PSPC) (il-lui / he-him)" userId="b5972ad0-fee1-4393-9fd4-8bc589782ac7" providerId="ADAL" clId="{5D50F259-4704-4584-8F27-B0F493E0DAF2}" dt="2024-11-04T18:14:30.330" v="124" actId="20577"/>
          <ac:spMkLst>
            <pc:docMk/>
            <pc:sldMk cId="951449358" sldId="5166"/>
            <ac:spMk id="3" creationId="{41BE6B50-88EB-D2A5-67D3-AD36A9027E26}"/>
          </ac:spMkLst>
        </pc:spChg>
        <pc:spChg chg="mod">
          <ac:chgData name="Dion3, Alain (SPAC/PSPC) (il-lui / he-him)" userId="b5972ad0-fee1-4393-9fd4-8bc589782ac7" providerId="ADAL" clId="{5D50F259-4704-4584-8F27-B0F493E0DAF2}" dt="2024-11-05T13:13:17.454" v="226" actId="20577"/>
          <ac:spMkLst>
            <pc:docMk/>
            <pc:sldMk cId="951449358" sldId="5166"/>
            <ac:spMk id="12" creationId="{B5E05B46-CF1C-10E8-CF27-43FD5B4CD2B6}"/>
          </ac:spMkLst>
        </pc:spChg>
        <pc:spChg chg="mod">
          <ac:chgData name="Dion3, Alain (SPAC/PSPC) (il-lui / he-him)" userId="b5972ad0-fee1-4393-9fd4-8bc589782ac7" providerId="ADAL" clId="{5D50F259-4704-4584-8F27-B0F493E0DAF2}" dt="2024-11-05T13:13:28.076" v="246" actId="20577"/>
          <ac:spMkLst>
            <pc:docMk/>
            <pc:sldMk cId="951449358" sldId="5166"/>
            <ac:spMk id="16" creationId="{491B984F-4AFE-70B5-52DF-3AC5E21CC468}"/>
          </ac:spMkLst>
        </pc:spChg>
        <pc:spChg chg="mod">
          <ac:chgData name="Dion3, Alain (SPAC/PSPC) (il-lui / he-him)" userId="b5972ad0-fee1-4393-9fd4-8bc589782ac7" providerId="ADAL" clId="{5D50F259-4704-4584-8F27-B0F493E0DAF2}" dt="2024-11-05T13:13:38.414" v="267" actId="20577"/>
          <ac:spMkLst>
            <pc:docMk/>
            <pc:sldMk cId="951449358" sldId="5166"/>
            <ac:spMk id="29" creationId="{553F35BF-1795-942C-7210-1F70701F738A}"/>
          </ac:spMkLst>
        </pc:spChg>
      </pc:sldChg>
      <pc:sldChg chg="modSp mod">
        <pc:chgData name="Dion3, Alain (SPAC/PSPC) (il-lui / he-him)" userId="b5972ad0-fee1-4393-9fd4-8bc589782ac7" providerId="ADAL" clId="{5D50F259-4704-4584-8F27-B0F493E0DAF2}" dt="2024-11-05T14:30:17.577" v="568" actId="790"/>
        <pc:sldMkLst>
          <pc:docMk/>
          <pc:sldMk cId="2106271575" sldId="5167"/>
        </pc:sldMkLst>
        <pc:spChg chg="mod">
          <ac:chgData name="Dion3, Alain (SPAC/PSPC) (il-lui / he-him)" userId="b5972ad0-fee1-4393-9fd4-8bc589782ac7" providerId="ADAL" clId="{5D50F259-4704-4584-8F27-B0F493E0DAF2}" dt="2024-11-05T14:30:17.577" v="568" actId="790"/>
          <ac:spMkLst>
            <pc:docMk/>
            <pc:sldMk cId="2106271575" sldId="5167"/>
            <ac:spMk id="2" creationId="{0DA1C67A-4FAB-556C-5C8D-241597F9DA1B}"/>
          </ac:spMkLst>
        </pc:spChg>
        <pc:spChg chg="mod">
          <ac:chgData name="Dion3, Alain (SPAC/PSPC) (il-lui / he-him)" userId="b5972ad0-fee1-4393-9fd4-8bc589782ac7" providerId="ADAL" clId="{5D50F259-4704-4584-8F27-B0F493E0DAF2}" dt="2024-11-05T14:30:17.577" v="568" actId="790"/>
          <ac:spMkLst>
            <pc:docMk/>
            <pc:sldMk cId="2106271575" sldId="5167"/>
            <ac:spMk id="4" creationId="{6E84A27E-2844-316E-6672-1236545BDBDC}"/>
          </ac:spMkLst>
        </pc:spChg>
        <pc:spChg chg="mod">
          <ac:chgData name="Dion3, Alain (SPAC/PSPC) (il-lui / he-him)" userId="b5972ad0-fee1-4393-9fd4-8bc589782ac7" providerId="ADAL" clId="{5D50F259-4704-4584-8F27-B0F493E0DAF2}" dt="2024-11-05T14:30:17.577" v="568" actId="790"/>
          <ac:spMkLst>
            <pc:docMk/>
            <pc:sldMk cId="2106271575" sldId="5167"/>
            <ac:spMk id="7" creationId="{35341F70-17E8-89A5-84EF-DA67A9FDF4D9}"/>
          </ac:spMkLst>
        </pc:spChg>
        <pc:spChg chg="mod">
          <ac:chgData name="Dion3, Alain (SPAC/PSPC) (il-lui / he-him)" userId="b5972ad0-fee1-4393-9fd4-8bc589782ac7" providerId="ADAL" clId="{5D50F259-4704-4584-8F27-B0F493E0DAF2}" dt="2024-11-05T14:30:17.577" v="568" actId="790"/>
          <ac:spMkLst>
            <pc:docMk/>
            <pc:sldMk cId="2106271575" sldId="5167"/>
            <ac:spMk id="12" creationId="{9E7EA0FB-96DA-D309-DAD0-3AA33FFD40BB}"/>
          </ac:spMkLst>
        </pc:spChg>
      </pc:sldChg>
      <pc:sldChg chg="modSp mod">
        <pc:chgData name="Dion3, Alain (SPAC/PSPC) (il-lui / he-him)" userId="b5972ad0-fee1-4393-9fd4-8bc589782ac7" providerId="ADAL" clId="{5D50F259-4704-4584-8F27-B0F493E0DAF2}" dt="2024-11-05T14:29:39.408" v="562" actId="790"/>
        <pc:sldMkLst>
          <pc:docMk/>
          <pc:sldMk cId="3254786999" sldId="5168"/>
        </pc:sldMkLst>
        <pc:spChg chg="mod">
          <ac:chgData name="Dion3, Alain (SPAC/PSPC) (il-lui / he-him)" userId="b5972ad0-fee1-4393-9fd4-8bc589782ac7" providerId="ADAL" clId="{5D50F259-4704-4584-8F27-B0F493E0DAF2}" dt="2024-11-05T14:29:39.408" v="562" actId="790"/>
          <ac:spMkLst>
            <pc:docMk/>
            <pc:sldMk cId="3254786999" sldId="5168"/>
            <ac:spMk id="2" creationId="{0DA1C67A-4FAB-556C-5C8D-241597F9DA1B}"/>
          </ac:spMkLst>
        </pc:spChg>
        <pc:spChg chg="mod">
          <ac:chgData name="Dion3, Alain (SPAC/PSPC) (il-lui / he-him)" userId="b5972ad0-fee1-4393-9fd4-8bc589782ac7" providerId="ADAL" clId="{5D50F259-4704-4584-8F27-B0F493E0DAF2}" dt="2024-11-05T14:29:39.408" v="562" actId="790"/>
          <ac:spMkLst>
            <pc:docMk/>
            <pc:sldMk cId="3254786999" sldId="5168"/>
            <ac:spMk id="4" creationId="{6E84A27E-2844-316E-6672-1236545BDBDC}"/>
          </ac:spMkLst>
        </pc:spChg>
        <pc:spChg chg="mod">
          <ac:chgData name="Dion3, Alain (SPAC/PSPC) (il-lui / he-him)" userId="b5972ad0-fee1-4393-9fd4-8bc589782ac7" providerId="ADAL" clId="{5D50F259-4704-4584-8F27-B0F493E0DAF2}" dt="2024-11-05T14:29:39.408" v="562" actId="790"/>
          <ac:spMkLst>
            <pc:docMk/>
            <pc:sldMk cId="3254786999" sldId="5168"/>
            <ac:spMk id="12" creationId="{49BC1508-1F65-AA39-033E-D60F15B261D2}"/>
          </ac:spMkLst>
        </pc:spChg>
      </pc:sldChg>
      <pc:sldChg chg="modSp mod">
        <pc:chgData name="Dion3, Alain (SPAC/PSPC) (il-lui / he-him)" userId="b5972ad0-fee1-4393-9fd4-8bc589782ac7" providerId="ADAL" clId="{5D50F259-4704-4584-8F27-B0F493E0DAF2}" dt="2024-11-04T18:07:06.412" v="35" actId="27636"/>
        <pc:sldMkLst>
          <pc:docMk/>
          <pc:sldMk cId="775145580" sldId="5170"/>
        </pc:sldMkLst>
        <pc:spChg chg="mod">
          <ac:chgData name="Dion3, Alain (SPAC/PSPC) (il-lui / he-him)" userId="b5972ad0-fee1-4393-9fd4-8bc589782ac7" providerId="ADAL" clId="{5D50F259-4704-4584-8F27-B0F493E0DAF2}" dt="2024-11-04T18:07:06.412" v="35" actId="27636"/>
          <ac:spMkLst>
            <pc:docMk/>
            <pc:sldMk cId="775145580" sldId="5170"/>
            <ac:spMk id="4" creationId="{7D0AA24E-8F9C-5384-47ED-0C5CBF0D2122}"/>
          </ac:spMkLst>
        </pc:spChg>
      </pc:sldChg>
      <pc:sldMasterChg chg="modSp mod">
        <pc:chgData name="Dion3, Alain (SPAC/PSPC) (il-lui / he-him)" userId="b5972ad0-fee1-4393-9fd4-8bc589782ac7" providerId="ADAL" clId="{5D50F259-4704-4584-8F27-B0F493E0DAF2}" dt="2024-11-04T15:56:11.342" v="4" actId="14100"/>
        <pc:sldMasterMkLst>
          <pc:docMk/>
          <pc:sldMasterMk cId="792885655" sldId="2147483675"/>
        </pc:sldMasterMkLst>
        <pc:picChg chg="mod">
          <ac:chgData name="Dion3, Alain (SPAC/PSPC) (il-lui / he-him)" userId="b5972ad0-fee1-4393-9fd4-8bc589782ac7" providerId="ADAL" clId="{5D50F259-4704-4584-8F27-B0F493E0DAF2}" dt="2024-11-04T15:56:11.342" v="4" actId="14100"/>
          <ac:picMkLst>
            <pc:docMk/>
            <pc:sldMasterMk cId="792885655" sldId="2147483675"/>
            <ac:picMk id="17" creationId="{1CF982D2-D3BA-489C-B6FC-75EBE40BC1CB}"/>
          </ac:picMkLst>
        </pc:picChg>
      </pc:sldMasterChg>
    </pc:docChg>
  </pc:docChgLst>
  <pc:docChgLst>
    <pc:chgData name="Bemeur, Chantal (SPAC/PSPC) (elle-la / she-her)" userId="S::chantal.bemeur@tpsgc-pwgsc.gc.ca::97d9d3ea-19b5-4147-b2f7-c6eb9c5930c3" providerId="AD" clId="Web-{E1059E3A-D4AE-B3F2-4322-B280099015E4}"/>
    <pc:docChg chg="mod">
      <pc:chgData name="Bemeur, Chantal (SPAC/PSPC) (elle-la / she-her)" userId="S::chantal.bemeur@tpsgc-pwgsc.gc.ca::97d9d3ea-19b5-4147-b2f7-c6eb9c5930c3" providerId="AD" clId="Web-{E1059E3A-D4AE-B3F2-4322-B280099015E4}" dt="2024-10-18T21:08:52.932" v="0"/>
      <pc:docMkLst>
        <pc:docMk/>
      </pc:docMkLst>
    </pc:docChg>
  </pc:docChgLst>
  <pc:docChgLst>
    <pc:chgData name="Dion3, Alain (SPAC/PSPC) (il-lui / he-him)" userId="b5972ad0-fee1-4393-9fd4-8bc589782ac7" providerId="ADAL" clId="{3ACCABA1-D66F-4904-8251-B355270E7CFD}"/>
    <pc:docChg chg="undo custSel modSld">
      <pc:chgData name="Dion3, Alain (SPAC/PSPC) (il-lui / he-him)" userId="b5972ad0-fee1-4393-9fd4-8bc589782ac7" providerId="ADAL" clId="{3ACCABA1-D66F-4904-8251-B355270E7CFD}" dt="2024-10-28T15:00:23.249" v="538"/>
      <pc:docMkLst>
        <pc:docMk/>
      </pc:docMkLst>
      <pc:sldChg chg="modSp mod">
        <pc:chgData name="Dion3, Alain (SPAC/PSPC) (il-lui / he-him)" userId="b5972ad0-fee1-4393-9fd4-8bc589782ac7" providerId="ADAL" clId="{3ACCABA1-D66F-4904-8251-B355270E7CFD}" dt="2024-10-28T13:31:14.060" v="10"/>
        <pc:sldMkLst>
          <pc:docMk/>
          <pc:sldMk cId="1739606208" sldId="384"/>
        </pc:sldMkLst>
        <pc:spChg chg="replST">
          <ac:chgData name="Dion3, Alain (SPAC/PSPC) (il-lui / he-him)" userId="b5972ad0-fee1-4393-9fd4-8bc589782ac7" providerId="ADAL" clId="{3ACCABA1-D66F-4904-8251-B355270E7CFD}" dt="2024-10-28T13:31:14.028" v="6"/>
          <ac:spMkLst>
            <pc:docMk/>
            <pc:sldMk cId="1739606208" sldId="384"/>
            <ac:spMk id="15" creationId="{411163A5-7CB5-46A7-AE5F-BC3D5AAEA03C}"/>
          </ac:spMkLst>
        </pc:spChg>
        <pc:spChg chg="replST">
          <ac:chgData name="Dion3, Alain (SPAC/PSPC) (il-lui / he-him)" userId="b5972ad0-fee1-4393-9fd4-8bc589782ac7" providerId="ADAL" clId="{3ACCABA1-D66F-4904-8251-B355270E7CFD}" dt="2024-10-28T13:31:14.041" v="7"/>
          <ac:spMkLst>
            <pc:docMk/>
            <pc:sldMk cId="1739606208" sldId="384"/>
            <ac:spMk id="16" creationId="{68044161-86F9-4088-A6B9-05999097B37C}"/>
          </ac:spMkLst>
        </pc:spChg>
        <pc:spChg chg="replST">
          <ac:chgData name="Dion3, Alain (SPAC/PSPC) (il-lui / he-him)" userId="b5972ad0-fee1-4393-9fd4-8bc589782ac7" providerId="ADAL" clId="{3ACCABA1-D66F-4904-8251-B355270E7CFD}" dt="2024-10-28T13:31:14.048" v="8"/>
          <ac:spMkLst>
            <pc:docMk/>
            <pc:sldMk cId="1739606208" sldId="384"/>
            <ac:spMk id="19" creationId="{6F17F2A8-C13F-4D59-AEE3-797B6ED58FD3}"/>
          </ac:spMkLst>
        </pc:spChg>
        <pc:graphicFrameChg chg="replST">
          <ac:chgData name="Dion3, Alain (SPAC/PSPC) (il-lui / he-him)" userId="b5972ad0-fee1-4393-9fd4-8bc589782ac7" providerId="ADAL" clId="{3ACCABA1-D66F-4904-8251-B355270E7CFD}" dt="2024-10-28T13:31:14.019" v="5"/>
          <ac:graphicFrameMkLst>
            <pc:docMk/>
            <pc:sldMk cId="1739606208" sldId="384"/>
            <ac:graphicFrameMk id="4" creationId="{00000000-0000-0000-0000-000000000000}"/>
          </ac:graphicFrameMkLst>
        </pc:graphicFrameChg>
        <pc:picChg chg="replST">
          <ac:chgData name="Dion3, Alain (SPAC/PSPC) (il-lui / he-him)" userId="b5972ad0-fee1-4393-9fd4-8bc589782ac7" providerId="ADAL" clId="{3ACCABA1-D66F-4904-8251-B355270E7CFD}" dt="2024-10-28T13:31:14.060" v="10"/>
          <ac:picMkLst>
            <pc:docMk/>
            <pc:sldMk cId="1739606208" sldId="384"/>
            <ac:picMk id="3" creationId="{1954C225-5C7E-D340-D4FB-948CFEF5C684}"/>
          </ac:picMkLst>
        </pc:picChg>
        <pc:picChg chg="replST">
          <ac:chgData name="Dion3, Alain (SPAC/PSPC) (il-lui / he-him)" userId="b5972ad0-fee1-4393-9fd4-8bc589782ac7" providerId="ADAL" clId="{3ACCABA1-D66F-4904-8251-B355270E7CFD}" dt="2024-10-28T13:31:14.054" v="9"/>
          <ac:picMkLst>
            <pc:docMk/>
            <pc:sldMk cId="1739606208" sldId="384"/>
            <ac:picMk id="22" creationId="{3F213B2A-499F-44AF-AE46-FE468AC2FE04}"/>
          </ac:picMkLst>
        </pc:picChg>
      </pc:sldChg>
      <pc:sldChg chg="modSp mod addCm modNotes modNotesTx">
        <pc:chgData name="Dion3, Alain (SPAC/PSPC) (il-lui / he-him)" userId="b5972ad0-fee1-4393-9fd4-8bc589782ac7" providerId="ADAL" clId="{3ACCABA1-D66F-4904-8251-B355270E7CFD}" dt="2024-10-28T14:22:17.528" v="265" actId="20577"/>
        <pc:sldMkLst>
          <pc:docMk/>
          <pc:sldMk cId="782836501" sldId="385"/>
        </pc:sldMkLst>
        <pc:spChg chg="mod replST">
          <ac:chgData name="Dion3, Alain (SPAC/PSPC) (il-lui / he-him)" userId="b5972ad0-fee1-4393-9fd4-8bc589782ac7" providerId="ADAL" clId="{3ACCABA1-D66F-4904-8251-B355270E7CFD}" dt="2024-10-28T14:16:04.897" v="236"/>
          <ac:spMkLst>
            <pc:docMk/>
            <pc:sldMk cId="782836501" sldId="385"/>
            <ac:spMk id="2" creationId="{7848FF00-1347-4DA1-9437-1B4A0F154B78}"/>
          </ac:spMkLst>
        </pc:spChg>
        <pc:spChg chg="replST">
          <ac:chgData name="Dion3, Alain (SPAC/PSPC) (il-lui / he-him)" userId="b5972ad0-fee1-4393-9fd4-8bc589782ac7" providerId="ADAL" clId="{3ACCABA1-D66F-4904-8251-B355270E7CFD}" dt="2024-10-28T13:31:14.333" v="52"/>
          <ac:spMkLst>
            <pc:docMk/>
            <pc:sldMk cId="782836501" sldId="385"/>
            <ac:spMk id="4" creationId="{F4D4C3C8-8CC6-4BF9-B9F0-0B29F37F2A1C}"/>
          </ac:spMkLst>
        </pc:spChg>
        <pc:graphicFrameChg chg="mod replST">
          <ac:chgData name="Dion3, Alain (SPAC/PSPC) (il-lui / he-him)" userId="b5972ad0-fee1-4393-9fd4-8bc589782ac7" providerId="ADAL" clId="{3ACCABA1-D66F-4904-8251-B355270E7CFD}" dt="2024-10-28T14:15:39.009" v="235" actId="20577"/>
          <ac:graphicFrameMkLst>
            <pc:docMk/>
            <pc:sldMk cId="782836501" sldId="385"/>
            <ac:graphicFrameMk id="5" creationId="{47AF23CB-9CF8-3A93-AC5C-6849E2091E92}"/>
          </ac:graphicFrameMkLst>
        </pc:graphicFrameChg>
        <pc:picChg chg="replST">
          <ac:chgData name="Dion3, Alain (SPAC/PSPC) (il-lui / he-him)" userId="b5972ad0-fee1-4393-9fd4-8bc589782ac7" providerId="ADAL" clId="{3ACCABA1-D66F-4904-8251-B355270E7CFD}" dt="2024-10-28T13:31:14.351" v="55"/>
          <ac:picMkLst>
            <pc:docMk/>
            <pc:sldMk cId="782836501" sldId="385"/>
            <ac:picMk id="3" creationId="{4764C197-A1C5-4D1B-9772-6248B9F555B9}"/>
          </ac:picMkLst>
        </pc:picChg>
        <pc:picChg chg="replST">
          <ac:chgData name="Dion3, Alain (SPAC/PSPC) (il-lui / he-him)" userId="b5972ad0-fee1-4393-9fd4-8bc589782ac7" providerId="ADAL" clId="{3ACCABA1-D66F-4904-8251-B355270E7CFD}" dt="2024-10-28T13:31:14.345" v="54"/>
          <ac:picMkLst>
            <pc:docMk/>
            <pc:sldMk cId="782836501" sldId="385"/>
            <ac:picMk id="11" creationId="{4BE59BA4-5D6C-4A38-8A73-5686AAF2BAF1}"/>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4:16:22.019" v="237"/>
              <pc2:cmMkLst xmlns:pc2="http://schemas.microsoft.com/office/powerpoint/2019/9/main/command">
                <pc:docMk/>
                <pc:sldMk cId="782836501" sldId="385"/>
                <pc2:cmMk id="{2BDB6A8A-A80B-41A7-A37B-6556F60CAF4D}"/>
              </pc2:cmMkLst>
            </pc226:cmChg>
          </p:ext>
        </pc:extLst>
      </pc:sldChg>
      <pc:sldChg chg="modSp mod addCm modCm">
        <pc:chgData name="Dion3, Alain (SPAC/PSPC) (il-lui / he-him)" userId="b5972ad0-fee1-4393-9fd4-8bc589782ac7" providerId="ADAL" clId="{3ACCABA1-D66F-4904-8251-B355270E7CFD}" dt="2024-10-28T14:45:05.712" v="390" actId="20577"/>
        <pc:sldMkLst>
          <pc:docMk/>
          <pc:sldMk cId="3499923032" sldId="5146"/>
        </pc:sldMkLst>
        <pc:spChg chg="replST">
          <ac:chgData name="Dion3, Alain (SPAC/PSPC) (il-lui / he-him)" userId="b5972ad0-fee1-4393-9fd4-8bc589782ac7" providerId="ADAL" clId="{3ACCABA1-D66F-4904-8251-B355270E7CFD}" dt="2024-10-28T13:31:14.066" v="11"/>
          <ac:spMkLst>
            <pc:docMk/>
            <pc:sldMk cId="3499923032" sldId="5146"/>
            <ac:spMk id="5" creationId="{249EDED2-ACA5-E482-22BD-5F1403FEDBE4}"/>
          </ac:spMkLst>
        </pc:spChg>
        <pc:spChg chg="replST">
          <ac:chgData name="Dion3, Alain (SPAC/PSPC) (il-lui / he-him)" userId="b5972ad0-fee1-4393-9fd4-8bc589782ac7" providerId="ADAL" clId="{3ACCABA1-D66F-4904-8251-B355270E7CFD}" dt="2024-10-28T13:31:14.072" v="12"/>
          <ac:spMkLst>
            <pc:docMk/>
            <pc:sldMk cId="3499923032" sldId="5146"/>
            <ac:spMk id="8" creationId="{58BD4A98-E2BD-BCB3-4425-DC3B6B10B60C}"/>
          </ac:spMkLst>
        </pc:spChg>
        <pc:spChg chg="mod replST">
          <ac:chgData name="Dion3, Alain (SPAC/PSPC) (il-lui / he-him)" userId="b5972ad0-fee1-4393-9fd4-8bc589782ac7" providerId="ADAL" clId="{3ACCABA1-D66F-4904-8251-B355270E7CFD}" dt="2024-10-28T14:45:05.712" v="390" actId="20577"/>
          <ac:spMkLst>
            <pc:docMk/>
            <pc:sldMk cId="3499923032" sldId="5146"/>
            <ac:spMk id="10" creationId="{000D524A-320F-6BB4-B947-05E0A947FBA7}"/>
          </ac:spMkLst>
        </pc:sp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45:05.712" v="390" actId="20577"/>
              <pc2:cmMkLst xmlns:pc2="http://schemas.microsoft.com/office/powerpoint/2019/9/main/command">
                <pc:docMk/>
                <pc:sldMk cId="3499923032" sldId="5146"/>
                <pc2:cmMk id="{84837318-60D0-4AAA-A600-F35F7829DA8B}"/>
              </pc2:cmMkLst>
            </pc226:cmChg>
            <pc226:cmChg xmlns:pc226="http://schemas.microsoft.com/office/powerpoint/2022/06/main/command" chg="add mod">
              <pc226:chgData name="Dion3, Alain (SPAC/PSPC) (il-lui / he-him)" userId="b5972ad0-fee1-4393-9fd4-8bc589782ac7" providerId="ADAL" clId="{3ACCABA1-D66F-4904-8251-B355270E7CFD}" dt="2024-10-28T14:45:05.712" v="390" actId="20577"/>
              <pc2:cmMkLst xmlns:pc2="http://schemas.microsoft.com/office/powerpoint/2019/9/main/command">
                <pc:docMk/>
                <pc:sldMk cId="3499923032" sldId="5146"/>
                <pc2:cmMk id="{98484DB0-A815-436A-903F-8EA5EEB72975}"/>
              </pc2:cmMkLst>
            </pc226:cmChg>
          </p:ext>
        </pc:extLst>
      </pc:sldChg>
      <pc:sldChg chg="modSp mod addCm modCm modNotes modNotesTx">
        <pc:chgData name="Dion3, Alain (SPAC/PSPC) (il-lui / he-him)" userId="b5972ad0-fee1-4393-9fd4-8bc589782ac7" providerId="ADAL" clId="{3ACCABA1-D66F-4904-8251-B355270E7CFD}" dt="2024-10-28T14:38:30.859" v="310" actId="20577"/>
        <pc:sldMkLst>
          <pc:docMk/>
          <pc:sldMk cId="2509489348" sldId="5153"/>
        </pc:sldMkLst>
        <pc:spChg chg="mod replST">
          <ac:chgData name="Dion3, Alain (SPAC/PSPC) (il-lui / he-him)" userId="b5972ad0-fee1-4393-9fd4-8bc589782ac7" providerId="ADAL" clId="{3ACCABA1-D66F-4904-8251-B355270E7CFD}" dt="2024-10-28T14:24:11.928" v="271" actId="790"/>
          <ac:spMkLst>
            <pc:docMk/>
            <pc:sldMk cId="2509489348" sldId="5153"/>
            <ac:spMk id="3" creationId="{41BE6B50-88EB-D2A5-67D3-AD36A9027E26}"/>
          </ac:spMkLst>
        </pc:spChg>
        <pc:spChg chg="mod replST">
          <ac:chgData name="Dion3, Alain (SPAC/PSPC) (il-lui / he-him)" userId="b5972ad0-fee1-4393-9fd4-8bc589782ac7" providerId="ADAL" clId="{3ACCABA1-D66F-4904-8251-B355270E7CFD}" dt="2024-10-28T14:24:11.928" v="271" actId="790"/>
          <ac:spMkLst>
            <pc:docMk/>
            <pc:sldMk cId="2509489348" sldId="5153"/>
            <ac:spMk id="4" creationId="{630D77A7-4E8E-7081-F0AC-4F3053A49FAC}"/>
          </ac:spMkLst>
        </pc:spChg>
        <pc:spChg chg="mod replST">
          <ac:chgData name="Dion3, Alain (SPAC/PSPC) (il-lui / he-him)" userId="b5972ad0-fee1-4393-9fd4-8bc589782ac7" providerId="ADAL" clId="{3ACCABA1-D66F-4904-8251-B355270E7CFD}" dt="2024-10-28T14:24:48.305" v="298" actId="20577"/>
          <ac:spMkLst>
            <pc:docMk/>
            <pc:sldMk cId="2509489348" sldId="5153"/>
            <ac:spMk id="5" creationId="{D0DACE9A-1229-9EEE-A180-51B071D4E977}"/>
          </ac:spMkLst>
        </pc:spChg>
        <pc:spChg chg="mod replST">
          <ac:chgData name="Dion3, Alain (SPAC/PSPC) (il-lui / he-him)" userId="b5972ad0-fee1-4393-9fd4-8bc589782ac7" providerId="ADAL" clId="{3ACCABA1-D66F-4904-8251-B355270E7CFD}" dt="2024-10-28T14:24:11.928" v="271" actId="790"/>
          <ac:spMkLst>
            <pc:docMk/>
            <pc:sldMk cId="2509489348" sldId="5153"/>
            <ac:spMk id="6" creationId="{55B9010B-A8A7-9B6F-B5B4-3FFDE75A9E2A}"/>
          </ac:spMkLst>
        </pc:spChg>
        <pc:picChg chg="replST">
          <ac:chgData name="Dion3, Alain (SPAC/PSPC) (il-lui / he-him)" userId="b5972ad0-fee1-4393-9fd4-8bc589782ac7" providerId="ADAL" clId="{3ACCABA1-D66F-4904-8251-B355270E7CFD}" dt="2024-10-28T13:31:14.423" v="65"/>
          <ac:picMkLst>
            <pc:docMk/>
            <pc:sldMk cId="2509489348" sldId="5153"/>
            <ac:picMk id="2" creationId="{0E9612D6-45F7-B170-9554-337FDA33561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24:48.305" v="298" actId="20577"/>
              <pc2:cmMkLst xmlns:pc2="http://schemas.microsoft.com/office/powerpoint/2019/9/main/command">
                <pc:docMk/>
                <pc:sldMk cId="2509489348" sldId="5153"/>
                <pc2:cmMk id="{A04B6C77-3AD8-4C27-BA6B-9D16BA7C9FC3}"/>
              </pc2:cmMkLst>
            </pc226:cmChg>
            <pc226:cmChg xmlns:pc226="http://schemas.microsoft.com/office/powerpoint/2022/06/main/command" chg="add">
              <pc226:chgData name="Dion3, Alain (SPAC/PSPC) (il-lui / he-him)" userId="b5972ad0-fee1-4393-9fd4-8bc589782ac7" providerId="ADAL" clId="{3ACCABA1-D66F-4904-8251-B355270E7CFD}" dt="2024-10-28T14:25:16.552" v="299"/>
              <pc2:cmMkLst xmlns:pc2="http://schemas.microsoft.com/office/powerpoint/2019/9/main/command">
                <pc:docMk/>
                <pc:sldMk cId="2509489348" sldId="5153"/>
                <pc2:cmMk id="{04DBD37E-CAF2-41DB-9F84-6FDC3BC5F9AB}"/>
              </pc2:cmMkLst>
            </pc226:cmChg>
          </p:ext>
        </pc:extLst>
      </pc:sldChg>
      <pc:sldChg chg="modSp mod addCm modCm">
        <pc:chgData name="Dion3, Alain (SPAC/PSPC) (il-lui / he-him)" userId="b5972ad0-fee1-4393-9fd4-8bc589782ac7" providerId="ADAL" clId="{3ACCABA1-D66F-4904-8251-B355270E7CFD}" dt="2024-10-28T14:46:34.996" v="392"/>
        <pc:sldMkLst>
          <pc:docMk/>
          <pc:sldMk cId="1022071146" sldId="5154"/>
        </pc:sldMkLst>
        <pc:spChg chg="mod replST">
          <ac:chgData name="Dion3, Alain (SPAC/PSPC) (il-lui / he-him)" userId="b5972ad0-fee1-4393-9fd4-8bc589782ac7" providerId="ADAL" clId="{3ACCABA1-D66F-4904-8251-B355270E7CFD}" dt="2024-10-28T14:43:40.209" v="354" actId="790"/>
          <ac:spMkLst>
            <pc:docMk/>
            <pc:sldMk cId="1022071146" sldId="5154"/>
            <ac:spMk id="2" creationId="{E2A90173-C9BE-15AB-2F1B-343129698A10}"/>
          </ac:spMkLst>
        </pc:spChg>
        <pc:spChg chg="mod replST">
          <ac:chgData name="Dion3, Alain (SPAC/PSPC) (il-lui / he-him)" userId="b5972ad0-fee1-4393-9fd4-8bc589782ac7" providerId="ADAL" clId="{3ACCABA1-D66F-4904-8251-B355270E7CFD}" dt="2024-10-28T14:44:40.806" v="361" actId="20577"/>
          <ac:spMkLst>
            <pc:docMk/>
            <pc:sldMk cId="1022071146" sldId="5154"/>
            <ac:spMk id="3" creationId="{7A78167E-F052-C9E8-04C8-15DFB9851FEC}"/>
          </ac:spMkLst>
        </pc:spChg>
        <pc:spChg chg="mod replST">
          <ac:chgData name="Dion3, Alain (SPAC/PSPC) (il-lui / he-him)" userId="b5972ad0-fee1-4393-9fd4-8bc589782ac7" providerId="ADAL" clId="{3ACCABA1-D66F-4904-8251-B355270E7CFD}" dt="2024-10-28T14:43:40.209" v="354" actId="790"/>
          <ac:spMkLst>
            <pc:docMk/>
            <pc:sldMk cId="1022071146" sldId="5154"/>
            <ac:spMk id="5" creationId="{990E4937-9203-80F1-1D3B-46A2B6309F3A}"/>
          </ac:spMkLst>
        </pc:spChg>
        <pc:spChg chg="mod">
          <ac:chgData name="Dion3, Alain (SPAC/PSPC) (il-lui / he-him)" userId="b5972ad0-fee1-4393-9fd4-8bc589782ac7" providerId="ADAL" clId="{3ACCABA1-D66F-4904-8251-B355270E7CFD}" dt="2024-10-28T14:43:40.209" v="354" actId="790"/>
          <ac:spMkLst>
            <pc:docMk/>
            <pc:sldMk cId="1022071146" sldId="5154"/>
            <ac:spMk id="16" creationId="{9FC768E5-1F64-2B56-E0C1-44C03EE92B56}"/>
          </ac:spMkLst>
        </pc:spChg>
        <pc:spChg chg="mod">
          <ac:chgData name="Dion3, Alain (SPAC/PSPC) (il-lui / he-him)" userId="b5972ad0-fee1-4393-9fd4-8bc589782ac7" providerId="ADAL" clId="{3ACCABA1-D66F-4904-8251-B355270E7CFD}" dt="2024-10-28T14:43:40.209" v="354" actId="790"/>
          <ac:spMkLst>
            <pc:docMk/>
            <pc:sldMk cId="1022071146" sldId="5154"/>
            <ac:spMk id="18" creationId="{70058B1D-0A8A-760D-BED4-2BB0341C1D65}"/>
          </ac:spMkLst>
        </pc:spChg>
        <pc:spChg chg="mod">
          <ac:chgData name="Dion3, Alain (SPAC/PSPC) (il-lui / he-him)" userId="b5972ad0-fee1-4393-9fd4-8bc589782ac7" providerId="ADAL" clId="{3ACCABA1-D66F-4904-8251-B355270E7CFD}" dt="2024-10-28T14:43:40.209" v="354" actId="790"/>
          <ac:spMkLst>
            <pc:docMk/>
            <pc:sldMk cId="1022071146" sldId="5154"/>
            <ac:spMk id="20" creationId="{9ACC593A-9919-1799-8ABB-A64A666F9F26}"/>
          </ac:spMkLst>
        </pc:spChg>
        <pc:spChg chg="mod">
          <ac:chgData name="Dion3, Alain (SPAC/PSPC) (il-lui / he-him)" userId="b5972ad0-fee1-4393-9fd4-8bc589782ac7" providerId="ADAL" clId="{3ACCABA1-D66F-4904-8251-B355270E7CFD}" dt="2024-10-28T14:43:40.209" v="354" actId="790"/>
          <ac:spMkLst>
            <pc:docMk/>
            <pc:sldMk cId="1022071146" sldId="5154"/>
            <ac:spMk id="21" creationId="{E3C94D93-CA24-69BA-42B5-5D6F6FBA9C87}"/>
          </ac:spMkLst>
        </pc:spChg>
        <pc:spChg chg="mod">
          <ac:chgData name="Dion3, Alain (SPAC/PSPC) (il-lui / he-him)" userId="b5972ad0-fee1-4393-9fd4-8bc589782ac7" providerId="ADAL" clId="{3ACCABA1-D66F-4904-8251-B355270E7CFD}" dt="2024-10-28T14:43:40.209" v="354" actId="790"/>
          <ac:spMkLst>
            <pc:docMk/>
            <pc:sldMk cId="1022071146" sldId="5154"/>
            <ac:spMk id="23" creationId="{4C6A7B9E-69AE-501D-1378-FDD8B8D94959}"/>
          </ac:spMkLst>
        </pc:spChg>
        <pc:spChg chg="mod">
          <ac:chgData name="Dion3, Alain (SPAC/PSPC) (il-lui / he-him)" userId="b5972ad0-fee1-4393-9fd4-8bc589782ac7" providerId="ADAL" clId="{3ACCABA1-D66F-4904-8251-B355270E7CFD}" dt="2024-10-28T14:43:40.209" v="354" actId="790"/>
          <ac:spMkLst>
            <pc:docMk/>
            <pc:sldMk cId="1022071146" sldId="5154"/>
            <ac:spMk id="24" creationId="{EA992CF0-F97D-F076-9A7A-DB43E7EF8384}"/>
          </ac:spMkLst>
        </pc:spChg>
        <pc:spChg chg="mod">
          <ac:chgData name="Dion3, Alain (SPAC/PSPC) (il-lui / he-him)" userId="b5972ad0-fee1-4393-9fd4-8bc589782ac7" providerId="ADAL" clId="{3ACCABA1-D66F-4904-8251-B355270E7CFD}" dt="2024-10-28T14:43:40.209" v="354" actId="790"/>
          <ac:spMkLst>
            <pc:docMk/>
            <pc:sldMk cId="1022071146" sldId="5154"/>
            <ac:spMk id="25" creationId="{5079FE47-599C-A134-BD23-C4276CD45296}"/>
          </ac:spMkLst>
        </pc:spChg>
        <pc:spChg chg="mod">
          <ac:chgData name="Dion3, Alain (SPAC/PSPC) (il-lui / he-him)" userId="b5972ad0-fee1-4393-9fd4-8bc589782ac7" providerId="ADAL" clId="{3ACCABA1-D66F-4904-8251-B355270E7CFD}" dt="2024-10-28T14:43:40.209" v="354" actId="790"/>
          <ac:spMkLst>
            <pc:docMk/>
            <pc:sldMk cId="1022071146" sldId="5154"/>
            <ac:spMk id="26" creationId="{2D8DBA23-B5AA-7C7E-5352-85936063FD93}"/>
          </ac:spMkLst>
        </pc:spChg>
        <pc:spChg chg="mod">
          <ac:chgData name="Dion3, Alain (SPAC/PSPC) (il-lui / he-him)" userId="b5972ad0-fee1-4393-9fd4-8bc589782ac7" providerId="ADAL" clId="{3ACCABA1-D66F-4904-8251-B355270E7CFD}" dt="2024-10-28T14:43:40.209" v="354" actId="790"/>
          <ac:spMkLst>
            <pc:docMk/>
            <pc:sldMk cId="1022071146" sldId="5154"/>
            <ac:spMk id="27" creationId="{3E44F633-6A18-C683-ECF0-C9ADF10A6E19}"/>
          </ac:spMkLst>
        </pc:spChg>
        <pc:spChg chg="mod">
          <ac:chgData name="Dion3, Alain (SPAC/PSPC) (il-lui / he-him)" userId="b5972ad0-fee1-4393-9fd4-8bc589782ac7" providerId="ADAL" clId="{3ACCABA1-D66F-4904-8251-B355270E7CFD}" dt="2024-10-28T14:43:40.209" v="354" actId="790"/>
          <ac:spMkLst>
            <pc:docMk/>
            <pc:sldMk cId="1022071146" sldId="5154"/>
            <ac:spMk id="28" creationId="{121E2F39-5F17-5BE0-0611-09179169AC61}"/>
          </ac:spMkLst>
        </pc:spChg>
        <pc:spChg chg="mod">
          <ac:chgData name="Dion3, Alain (SPAC/PSPC) (il-lui / he-him)" userId="b5972ad0-fee1-4393-9fd4-8bc589782ac7" providerId="ADAL" clId="{3ACCABA1-D66F-4904-8251-B355270E7CFD}" dt="2024-10-28T14:43:40.209" v="354" actId="790"/>
          <ac:spMkLst>
            <pc:docMk/>
            <pc:sldMk cId="1022071146" sldId="5154"/>
            <ac:spMk id="29" creationId="{12C3754B-981F-6B16-F1BE-8BB0D99D64AF}"/>
          </ac:spMkLst>
        </pc:spChg>
        <pc:spChg chg="mod">
          <ac:chgData name="Dion3, Alain (SPAC/PSPC) (il-lui / he-him)" userId="b5972ad0-fee1-4393-9fd4-8bc589782ac7" providerId="ADAL" clId="{3ACCABA1-D66F-4904-8251-B355270E7CFD}" dt="2024-10-28T14:43:40.209" v="354" actId="790"/>
          <ac:spMkLst>
            <pc:docMk/>
            <pc:sldMk cId="1022071146" sldId="5154"/>
            <ac:spMk id="30" creationId="{A771D895-B308-1CD3-1977-394DE6E698B4}"/>
          </ac:spMkLst>
        </pc:spChg>
        <pc:spChg chg="mod">
          <ac:chgData name="Dion3, Alain (SPAC/PSPC) (il-lui / he-him)" userId="b5972ad0-fee1-4393-9fd4-8bc589782ac7" providerId="ADAL" clId="{3ACCABA1-D66F-4904-8251-B355270E7CFD}" dt="2024-10-28T14:43:40.209" v="354" actId="790"/>
          <ac:spMkLst>
            <pc:docMk/>
            <pc:sldMk cId="1022071146" sldId="5154"/>
            <ac:spMk id="31" creationId="{FF523CDD-A188-0AF8-9753-BA8B4EDA9277}"/>
          </ac:spMkLst>
        </pc:spChg>
        <pc:spChg chg="mod">
          <ac:chgData name="Dion3, Alain (SPAC/PSPC) (il-lui / he-him)" userId="b5972ad0-fee1-4393-9fd4-8bc589782ac7" providerId="ADAL" clId="{3ACCABA1-D66F-4904-8251-B355270E7CFD}" dt="2024-10-28T14:43:40.209" v="354" actId="790"/>
          <ac:spMkLst>
            <pc:docMk/>
            <pc:sldMk cId="1022071146" sldId="5154"/>
            <ac:spMk id="32" creationId="{EFA1AC29-92D2-20E7-13DC-4F7BBD377B89}"/>
          </ac:spMkLst>
        </pc:spChg>
        <pc:spChg chg="mod">
          <ac:chgData name="Dion3, Alain (SPAC/PSPC) (il-lui / he-him)" userId="b5972ad0-fee1-4393-9fd4-8bc589782ac7" providerId="ADAL" clId="{3ACCABA1-D66F-4904-8251-B355270E7CFD}" dt="2024-10-28T14:43:40.209" v="354" actId="790"/>
          <ac:spMkLst>
            <pc:docMk/>
            <pc:sldMk cId="1022071146" sldId="5154"/>
            <ac:spMk id="33" creationId="{17708D04-DFD1-3AA8-5438-2ABED82E0784}"/>
          </ac:spMkLst>
        </pc:spChg>
        <pc:spChg chg="mod">
          <ac:chgData name="Dion3, Alain (SPAC/PSPC) (il-lui / he-him)" userId="b5972ad0-fee1-4393-9fd4-8bc589782ac7" providerId="ADAL" clId="{3ACCABA1-D66F-4904-8251-B355270E7CFD}" dt="2024-10-28T14:43:40.209" v="354" actId="790"/>
          <ac:spMkLst>
            <pc:docMk/>
            <pc:sldMk cId="1022071146" sldId="5154"/>
            <ac:spMk id="34" creationId="{5D52573B-7A52-96DF-FE8D-BDAF691182CA}"/>
          </ac:spMkLst>
        </pc:spChg>
        <pc:spChg chg="mod">
          <ac:chgData name="Dion3, Alain (SPAC/PSPC) (il-lui / he-him)" userId="b5972ad0-fee1-4393-9fd4-8bc589782ac7" providerId="ADAL" clId="{3ACCABA1-D66F-4904-8251-B355270E7CFD}" dt="2024-10-28T14:43:40.209" v="354" actId="790"/>
          <ac:spMkLst>
            <pc:docMk/>
            <pc:sldMk cId="1022071146" sldId="5154"/>
            <ac:spMk id="35" creationId="{CF0739C7-09B9-EB4C-D223-070BF1267B17}"/>
          </ac:spMkLst>
        </pc:spChg>
        <pc:spChg chg="mod">
          <ac:chgData name="Dion3, Alain (SPAC/PSPC) (il-lui / he-him)" userId="b5972ad0-fee1-4393-9fd4-8bc589782ac7" providerId="ADAL" clId="{3ACCABA1-D66F-4904-8251-B355270E7CFD}" dt="2024-10-28T14:43:40.209" v="354" actId="790"/>
          <ac:spMkLst>
            <pc:docMk/>
            <pc:sldMk cId="1022071146" sldId="5154"/>
            <ac:spMk id="36" creationId="{1EBFC678-0DB9-A4EB-AF0F-2895CB3F2C1E}"/>
          </ac:spMkLst>
        </pc:spChg>
        <pc:spChg chg="mod">
          <ac:chgData name="Dion3, Alain (SPAC/PSPC) (il-lui / he-him)" userId="b5972ad0-fee1-4393-9fd4-8bc589782ac7" providerId="ADAL" clId="{3ACCABA1-D66F-4904-8251-B355270E7CFD}" dt="2024-10-28T14:43:40.209" v="354" actId="790"/>
          <ac:spMkLst>
            <pc:docMk/>
            <pc:sldMk cId="1022071146" sldId="5154"/>
            <ac:spMk id="37" creationId="{7E3B3FA9-E209-8C5B-B9BF-1CBC00206948}"/>
          </ac:spMkLst>
        </pc:spChg>
        <pc:spChg chg="mod">
          <ac:chgData name="Dion3, Alain (SPAC/PSPC) (il-lui / he-him)" userId="b5972ad0-fee1-4393-9fd4-8bc589782ac7" providerId="ADAL" clId="{3ACCABA1-D66F-4904-8251-B355270E7CFD}" dt="2024-10-28T14:43:40.209" v="354" actId="790"/>
          <ac:spMkLst>
            <pc:docMk/>
            <pc:sldMk cId="1022071146" sldId="5154"/>
            <ac:spMk id="38" creationId="{B6507E11-EC29-4E46-39AD-4BB6E38FB301}"/>
          </ac:spMkLst>
        </pc:spChg>
        <pc:spChg chg="mod">
          <ac:chgData name="Dion3, Alain (SPAC/PSPC) (il-lui / he-him)" userId="b5972ad0-fee1-4393-9fd4-8bc589782ac7" providerId="ADAL" clId="{3ACCABA1-D66F-4904-8251-B355270E7CFD}" dt="2024-10-28T14:43:40.209" v="354" actId="790"/>
          <ac:spMkLst>
            <pc:docMk/>
            <pc:sldMk cId="1022071146" sldId="5154"/>
            <ac:spMk id="39" creationId="{C7469CDD-D524-16E5-551D-01955F32196C}"/>
          </ac:spMkLst>
        </pc:spChg>
        <pc:spChg chg="mod">
          <ac:chgData name="Dion3, Alain (SPAC/PSPC) (il-lui / he-him)" userId="b5972ad0-fee1-4393-9fd4-8bc589782ac7" providerId="ADAL" clId="{3ACCABA1-D66F-4904-8251-B355270E7CFD}" dt="2024-10-28T14:43:40.209" v="354" actId="790"/>
          <ac:spMkLst>
            <pc:docMk/>
            <pc:sldMk cId="1022071146" sldId="5154"/>
            <ac:spMk id="40" creationId="{F7C5741F-5578-1AF1-4851-0A486B3F686F}"/>
          </ac:spMkLst>
        </pc:spChg>
        <pc:spChg chg="mod">
          <ac:chgData name="Dion3, Alain (SPAC/PSPC) (il-lui / he-him)" userId="b5972ad0-fee1-4393-9fd4-8bc589782ac7" providerId="ADAL" clId="{3ACCABA1-D66F-4904-8251-B355270E7CFD}" dt="2024-10-28T14:43:40.209" v="354" actId="790"/>
          <ac:spMkLst>
            <pc:docMk/>
            <pc:sldMk cId="1022071146" sldId="5154"/>
            <ac:spMk id="41" creationId="{CC7386CC-0505-DBCC-AF06-AFA69ED717C9}"/>
          </ac:spMkLst>
        </pc:spChg>
        <pc:spChg chg="mod">
          <ac:chgData name="Dion3, Alain (SPAC/PSPC) (il-lui / he-him)" userId="b5972ad0-fee1-4393-9fd4-8bc589782ac7" providerId="ADAL" clId="{3ACCABA1-D66F-4904-8251-B355270E7CFD}" dt="2024-10-28T14:43:40.209" v="354" actId="790"/>
          <ac:spMkLst>
            <pc:docMk/>
            <pc:sldMk cId="1022071146" sldId="5154"/>
            <ac:spMk id="42" creationId="{BE4A57EE-E044-A301-EF2C-BED0F57FA70A}"/>
          </ac:spMkLst>
        </pc:spChg>
        <pc:spChg chg="mod">
          <ac:chgData name="Dion3, Alain (SPAC/PSPC) (il-lui / he-him)" userId="b5972ad0-fee1-4393-9fd4-8bc589782ac7" providerId="ADAL" clId="{3ACCABA1-D66F-4904-8251-B355270E7CFD}" dt="2024-10-28T14:43:40.209" v="354" actId="790"/>
          <ac:spMkLst>
            <pc:docMk/>
            <pc:sldMk cId="1022071146" sldId="5154"/>
            <ac:spMk id="43" creationId="{3F3E4707-9FC5-99ED-5D71-20C2D5994A81}"/>
          </ac:spMkLst>
        </pc:spChg>
        <pc:spChg chg="mod">
          <ac:chgData name="Dion3, Alain (SPAC/PSPC) (il-lui / he-him)" userId="b5972ad0-fee1-4393-9fd4-8bc589782ac7" providerId="ADAL" clId="{3ACCABA1-D66F-4904-8251-B355270E7CFD}" dt="2024-10-28T14:43:40.209" v="354" actId="790"/>
          <ac:spMkLst>
            <pc:docMk/>
            <pc:sldMk cId="1022071146" sldId="5154"/>
            <ac:spMk id="44" creationId="{9A8EA917-3A44-7139-87AD-F9EC0728A680}"/>
          </ac:spMkLst>
        </pc:spChg>
        <pc:spChg chg="mod">
          <ac:chgData name="Dion3, Alain (SPAC/PSPC) (il-lui / he-him)" userId="b5972ad0-fee1-4393-9fd4-8bc589782ac7" providerId="ADAL" clId="{3ACCABA1-D66F-4904-8251-B355270E7CFD}" dt="2024-10-28T14:43:40.209" v="354" actId="790"/>
          <ac:spMkLst>
            <pc:docMk/>
            <pc:sldMk cId="1022071146" sldId="5154"/>
            <ac:spMk id="45" creationId="{FFC0B55C-39BF-5CAE-ED00-CF1AAB1A0E5C}"/>
          </ac:spMkLst>
        </pc:spChg>
        <pc:spChg chg="mod">
          <ac:chgData name="Dion3, Alain (SPAC/PSPC) (il-lui / he-him)" userId="b5972ad0-fee1-4393-9fd4-8bc589782ac7" providerId="ADAL" clId="{3ACCABA1-D66F-4904-8251-B355270E7CFD}" dt="2024-10-28T14:43:40.209" v="354" actId="790"/>
          <ac:spMkLst>
            <pc:docMk/>
            <pc:sldMk cId="1022071146" sldId="5154"/>
            <ac:spMk id="46" creationId="{5DD1DF85-5880-3DBC-D19F-84A8C181A8D1}"/>
          </ac:spMkLst>
        </pc:spChg>
        <pc:spChg chg="mod">
          <ac:chgData name="Dion3, Alain (SPAC/PSPC) (il-lui / he-him)" userId="b5972ad0-fee1-4393-9fd4-8bc589782ac7" providerId="ADAL" clId="{3ACCABA1-D66F-4904-8251-B355270E7CFD}" dt="2024-10-28T14:43:40.209" v="354" actId="790"/>
          <ac:spMkLst>
            <pc:docMk/>
            <pc:sldMk cId="1022071146" sldId="5154"/>
            <ac:spMk id="47" creationId="{88299F6F-8805-751B-ADEE-BF0CD75A6124}"/>
          </ac:spMkLst>
        </pc:spChg>
        <pc:spChg chg="mod">
          <ac:chgData name="Dion3, Alain (SPAC/PSPC) (il-lui / he-him)" userId="b5972ad0-fee1-4393-9fd4-8bc589782ac7" providerId="ADAL" clId="{3ACCABA1-D66F-4904-8251-B355270E7CFD}" dt="2024-10-28T14:43:40.209" v="354" actId="790"/>
          <ac:spMkLst>
            <pc:docMk/>
            <pc:sldMk cId="1022071146" sldId="5154"/>
            <ac:spMk id="48" creationId="{CF64522E-403A-03F8-6A2C-40ED44B5E3A5}"/>
          </ac:spMkLst>
        </pc:spChg>
        <pc:spChg chg="mod">
          <ac:chgData name="Dion3, Alain (SPAC/PSPC) (il-lui / he-him)" userId="b5972ad0-fee1-4393-9fd4-8bc589782ac7" providerId="ADAL" clId="{3ACCABA1-D66F-4904-8251-B355270E7CFD}" dt="2024-10-28T14:43:40.209" v="354" actId="790"/>
          <ac:spMkLst>
            <pc:docMk/>
            <pc:sldMk cId="1022071146" sldId="5154"/>
            <ac:spMk id="49" creationId="{91069B41-4C43-24DB-A809-E7DFB1ED4D14}"/>
          </ac:spMkLst>
        </pc:spChg>
        <pc:spChg chg="mod">
          <ac:chgData name="Dion3, Alain (SPAC/PSPC) (il-lui / he-him)" userId="b5972ad0-fee1-4393-9fd4-8bc589782ac7" providerId="ADAL" clId="{3ACCABA1-D66F-4904-8251-B355270E7CFD}" dt="2024-10-28T14:43:40.209" v="354" actId="790"/>
          <ac:spMkLst>
            <pc:docMk/>
            <pc:sldMk cId="1022071146" sldId="5154"/>
            <ac:spMk id="50" creationId="{8B8149E1-0BA5-501B-D6DA-82553AFC8016}"/>
          </ac:spMkLst>
        </pc:spChg>
        <pc:spChg chg="mod">
          <ac:chgData name="Dion3, Alain (SPAC/PSPC) (il-lui / he-him)" userId="b5972ad0-fee1-4393-9fd4-8bc589782ac7" providerId="ADAL" clId="{3ACCABA1-D66F-4904-8251-B355270E7CFD}" dt="2024-10-28T14:43:40.209" v="354" actId="790"/>
          <ac:spMkLst>
            <pc:docMk/>
            <pc:sldMk cId="1022071146" sldId="5154"/>
            <ac:spMk id="51" creationId="{2C429B3A-B535-189D-44AB-C000227A8D66}"/>
          </ac:spMkLst>
        </pc:spChg>
        <pc:spChg chg="mod">
          <ac:chgData name="Dion3, Alain (SPAC/PSPC) (il-lui / he-him)" userId="b5972ad0-fee1-4393-9fd4-8bc589782ac7" providerId="ADAL" clId="{3ACCABA1-D66F-4904-8251-B355270E7CFD}" dt="2024-10-28T14:43:40.209" v="354" actId="790"/>
          <ac:spMkLst>
            <pc:docMk/>
            <pc:sldMk cId="1022071146" sldId="5154"/>
            <ac:spMk id="52" creationId="{03EAD489-B340-22F1-3DE1-27FC20B4E430}"/>
          </ac:spMkLst>
        </pc:spChg>
        <pc:spChg chg="mod">
          <ac:chgData name="Dion3, Alain (SPAC/PSPC) (il-lui / he-him)" userId="b5972ad0-fee1-4393-9fd4-8bc589782ac7" providerId="ADAL" clId="{3ACCABA1-D66F-4904-8251-B355270E7CFD}" dt="2024-10-28T14:43:40.209" v="354" actId="790"/>
          <ac:spMkLst>
            <pc:docMk/>
            <pc:sldMk cId="1022071146" sldId="5154"/>
            <ac:spMk id="53" creationId="{BC7BDEC7-21A8-687C-5FF8-DE2D5E7D5C21}"/>
          </ac:spMkLst>
        </pc:spChg>
        <pc:spChg chg="mod">
          <ac:chgData name="Dion3, Alain (SPAC/PSPC) (il-lui / he-him)" userId="b5972ad0-fee1-4393-9fd4-8bc589782ac7" providerId="ADAL" clId="{3ACCABA1-D66F-4904-8251-B355270E7CFD}" dt="2024-10-28T14:43:40.209" v="354" actId="790"/>
          <ac:spMkLst>
            <pc:docMk/>
            <pc:sldMk cId="1022071146" sldId="5154"/>
            <ac:spMk id="54" creationId="{E5A8D4AB-7BB9-2ADB-170D-5AE12AE11CB3}"/>
          </ac:spMkLst>
        </pc:spChg>
        <pc:spChg chg="mod">
          <ac:chgData name="Dion3, Alain (SPAC/PSPC) (il-lui / he-him)" userId="b5972ad0-fee1-4393-9fd4-8bc589782ac7" providerId="ADAL" clId="{3ACCABA1-D66F-4904-8251-B355270E7CFD}" dt="2024-10-28T14:43:40.209" v="354" actId="790"/>
          <ac:spMkLst>
            <pc:docMk/>
            <pc:sldMk cId="1022071146" sldId="5154"/>
            <ac:spMk id="55" creationId="{DC8FA3CD-28D1-49A1-BC5D-FFAD3A62B81B}"/>
          </ac:spMkLst>
        </pc:spChg>
        <pc:spChg chg="mod">
          <ac:chgData name="Dion3, Alain (SPAC/PSPC) (il-lui / he-him)" userId="b5972ad0-fee1-4393-9fd4-8bc589782ac7" providerId="ADAL" clId="{3ACCABA1-D66F-4904-8251-B355270E7CFD}" dt="2024-10-28T14:43:40.209" v="354" actId="790"/>
          <ac:spMkLst>
            <pc:docMk/>
            <pc:sldMk cId="1022071146" sldId="5154"/>
            <ac:spMk id="56" creationId="{9F4FB8C1-A356-D30E-93D3-683F071FCBE9}"/>
          </ac:spMkLst>
        </pc:spChg>
        <pc:spChg chg="mod">
          <ac:chgData name="Dion3, Alain (SPAC/PSPC) (il-lui / he-him)" userId="b5972ad0-fee1-4393-9fd4-8bc589782ac7" providerId="ADAL" clId="{3ACCABA1-D66F-4904-8251-B355270E7CFD}" dt="2024-10-28T14:43:40.209" v="354" actId="790"/>
          <ac:spMkLst>
            <pc:docMk/>
            <pc:sldMk cId="1022071146" sldId="5154"/>
            <ac:spMk id="57" creationId="{C59489DA-E253-C358-8ABF-D485D1356380}"/>
          </ac:spMkLst>
        </pc:spChg>
        <pc:spChg chg="mod">
          <ac:chgData name="Dion3, Alain (SPAC/PSPC) (il-lui / he-him)" userId="b5972ad0-fee1-4393-9fd4-8bc589782ac7" providerId="ADAL" clId="{3ACCABA1-D66F-4904-8251-B355270E7CFD}" dt="2024-10-28T14:43:40.209" v="354" actId="790"/>
          <ac:spMkLst>
            <pc:docMk/>
            <pc:sldMk cId="1022071146" sldId="5154"/>
            <ac:spMk id="58" creationId="{4BE8A6E3-909C-1ED0-D24B-1794F09C4ECC}"/>
          </ac:spMkLst>
        </pc:spChg>
        <pc:spChg chg="mod">
          <ac:chgData name="Dion3, Alain (SPAC/PSPC) (il-lui / he-him)" userId="b5972ad0-fee1-4393-9fd4-8bc589782ac7" providerId="ADAL" clId="{3ACCABA1-D66F-4904-8251-B355270E7CFD}" dt="2024-10-28T14:43:40.209" v="354" actId="790"/>
          <ac:spMkLst>
            <pc:docMk/>
            <pc:sldMk cId="1022071146" sldId="5154"/>
            <ac:spMk id="59" creationId="{160101F8-D1B5-7A9F-DDE2-14BD9EBC1567}"/>
          </ac:spMkLst>
        </pc:spChg>
        <pc:spChg chg="mod">
          <ac:chgData name="Dion3, Alain (SPAC/PSPC) (il-lui / he-him)" userId="b5972ad0-fee1-4393-9fd4-8bc589782ac7" providerId="ADAL" clId="{3ACCABA1-D66F-4904-8251-B355270E7CFD}" dt="2024-10-28T14:43:40.209" v="354" actId="790"/>
          <ac:spMkLst>
            <pc:docMk/>
            <pc:sldMk cId="1022071146" sldId="5154"/>
            <ac:spMk id="60" creationId="{A4C07864-39AF-05FD-0931-D0AB139277AE}"/>
          </ac:spMkLst>
        </pc:spChg>
        <pc:spChg chg="mod">
          <ac:chgData name="Dion3, Alain (SPAC/PSPC) (il-lui / he-him)" userId="b5972ad0-fee1-4393-9fd4-8bc589782ac7" providerId="ADAL" clId="{3ACCABA1-D66F-4904-8251-B355270E7CFD}" dt="2024-10-28T14:43:40.209" v="354" actId="790"/>
          <ac:spMkLst>
            <pc:docMk/>
            <pc:sldMk cId="1022071146" sldId="5154"/>
            <ac:spMk id="61" creationId="{30BF5EA7-5212-3614-E451-F9F88930001B}"/>
          </ac:spMkLst>
        </pc:spChg>
        <pc:spChg chg="mod">
          <ac:chgData name="Dion3, Alain (SPAC/PSPC) (il-lui / he-him)" userId="b5972ad0-fee1-4393-9fd4-8bc589782ac7" providerId="ADAL" clId="{3ACCABA1-D66F-4904-8251-B355270E7CFD}" dt="2024-10-28T14:43:40.209" v="354" actId="790"/>
          <ac:spMkLst>
            <pc:docMk/>
            <pc:sldMk cId="1022071146" sldId="5154"/>
            <ac:spMk id="62" creationId="{5A4AC6CC-0A70-0090-5EE6-5194EA0EF4BE}"/>
          </ac:spMkLst>
        </pc:spChg>
        <pc:spChg chg="mod">
          <ac:chgData name="Dion3, Alain (SPAC/PSPC) (il-lui / he-him)" userId="b5972ad0-fee1-4393-9fd4-8bc589782ac7" providerId="ADAL" clId="{3ACCABA1-D66F-4904-8251-B355270E7CFD}" dt="2024-10-28T14:43:40.209" v="354" actId="790"/>
          <ac:spMkLst>
            <pc:docMk/>
            <pc:sldMk cId="1022071146" sldId="5154"/>
            <ac:spMk id="63" creationId="{9EF6C6AC-EACC-775A-A522-D3F0B539A731}"/>
          </ac:spMkLst>
        </pc:spChg>
        <pc:spChg chg="mod">
          <ac:chgData name="Dion3, Alain (SPAC/PSPC) (il-lui / he-him)" userId="b5972ad0-fee1-4393-9fd4-8bc589782ac7" providerId="ADAL" clId="{3ACCABA1-D66F-4904-8251-B355270E7CFD}" dt="2024-10-28T14:43:40.209" v="354" actId="790"/>
          <ac:spMkLst>
            <pc:docMk/>
            <pc:sldMk cId="1022071146" sldId="5154"/>
            <ac:spMk id="64" creationId="{753D1356-E641-08F0-A7BF-D43488B0F670}"/>
          </ac:spMkLst>
        </pc:spChg>
        <pc:spChg chg="mod">
          <ac:chgData name="Dion3, Alain (SPAC/PSPC) (il-lui / he-him)" userId="b5972ad0-fee1-4393-9fd4-8bc589782ac7" providerId="ADAL" clId="{3ACCABA1-D66F-4904-8251-B355270E7CFD}" dt="2024-10-28T14:43:40.209" v="354" actId="790"/>
          <ac:spMkLst>
            <pc:docMk/>
            <pc:sldMk cId="1022071146" sldId="5154"/>
            <ac:spMk id="65" creationId="{FC5202A0-3821-48D2-A1FE-93D546BB1D4C}"/>
          </ac:spMkLst>
        </pc:spChg>
        <pc:spChg chg="mod">
          <ac:chgData name="Dion3, Alain (SPAC/PSPC) (il-lui / he-him)" userId="b5972ad0-fee1-4393-9fd4-8bc589782ac7" providerId="ADAL" clId="{3ACCABA1-D66F-4904-8251-B355270E7CFD}" dt="2024-10-28T14:43:40.209" v="354" actId="790"/>
          <ac:spMkLst>
            <pc:docMk/>
            <pc:sldMk cId="1022071146" sldId="5154"/>
            <ac:spMk id="78" creationId="{057E7B1D-D7C7-9460-3484-E41EF154A9B2}"/>
          </ac:spMkLst>
        </pc:spChg>
        <pc:spChg chg="mod">
          <ac:chgData name="Dion3, Alain (SPAC/PSPC) (il-lui / he-him)" userId="b5972ad0-fee1-4393-9fd4-8bc589782ac7" providerId="ADAL" clId="{3ACCABA1-D66F-4904-8251-B355270E7CFD}" dt="2024-10-28T14:43:40.209" v="354" actId="790"/>
          <ac:spMkLst>
            <pc:docMk/>
            <pc:sldMk cId="1022071146" sldId="5154"/>
            <ac:spMk id="79" creationId="{8FCD9700-1C2E-305F-C2D7-D1F22165A204}"/>
          </ac:spMkLst>
        </pc:spChg>
        <pc:spChg chg="mod">
          <ac:chgData name="Dion3, Alain (SPAC/PSPC) (il-lui / he-him)" userId="b5972ad0-fee1-4393-9fd4-8bc589782ac7" providerId="ADAL" clId="{3ACCABA1-D66F-4904-8251-B355270E7CFD}" dt="2024-10-28T14:43:40.209" v="354" actId="790"/>
          <ac:spMkLst>
            <pc:docMk/>
            <pc:sldMk cId="1022071146" sldId="5154"/>
            <ac:spMk id="80" creationId="{AA9F00D5-1806-DACE-5D3E-92DD37C22826}"/>
          </ac:spMkLst>
        </pc:spChg>
        <pc:spChg chg="mod">
          <ac:chgData name="Dion3, Alain (SPAC/PSPC) (il-lui / he-him)" userId="b5972ad0-fee1-4393-9fd4-8bc589782ac7" providerId="ADAL" clId="{3ACCABA1-D66F-4904-8251-B355270E7CFD}" dt="2024-10-28T14:43:40.209" v="354" actId="790"/>
          <ac:spMkLst>
            <pc:docMk/>
            <pc:sldMk cId="1022071146" sldId="5154"/>
            <ac:spMk id="81" creationId="{91B53DBD-4316-9F02-791B-A39F96719240}"/>
          </ac:spMkLst>
        </pc:spChg>
        <pc:spChg chg="mod">
          <ac:chgData name="Dion3, Alain (SPAC/PSPC) (il-lui / he-him)" userId="b5972ad0-fee1-4393-9fd4-8bc589782ac7" providerId="ADAL" clId="{3ACCABA1-D66F-4904-8251-B355270E7CFD}" dt="2024-10-28T14:43:40.209" v="354" actId="790"/>
          <ac:spMkLst>
            <pc:docMk/>
            <pc:sldMk cId="1022071146" sldId="5154"/>
            <ac:spMk id="82" creationId="{6667D5C5-60C1-EF39-A34A-68A894525C14}"/>
          </ac:spMkLst>
        </pc:spChg>
        <pc:spChg chg="mod">
          <ac:chgData name="Dion3, Alain (SPAC/PSPC) (il-lui / he-him)" userId="b5972ad0-fee1-4393-9fd4-8bc589782ac7" providerId="ADAL" clId="{3ACCABA1-D66F-4904-8251-B355270E7CFD}" dt="2024-10-28T14:43:40.209" v="354" actId="790"/>
          <ac:spMkLst>
            <pc:docMk/>
            <pc:sldMk cId="1022071146" sldId="5154"/>
            <ac:spMk id="83" creationId="{BD636ECB-7C44-CBB6-D835-F5EEC0FDB5E7}"/>
          </ac:spMkLst>
        </pc:spChg>
        <pc:spChg chg="mod">
          <ac:chgData name="Dion3, Alain (SPAC/PSPC) (il-lui / he-him)" userId="b5972ad0-fee1-4393-9fd4-8bc589782ac7" providerId="ADAL" clId="{3ACCABA1-D66F-4904-8251-B355270E7CFD}" dt="2024-10-28T14:43:40.209" v="354" actId="790"/>
          <ac:spMkLst>
            <pc:docMk/>
            <pc:sldMk cId="1022071146" sldId="5154"/>
            <ac:spMk id="84" creationId="{2B0328CC-C16A-56CA-D000-EA18226D76E5}"/>
          </ac:spMkLst>
        </pc:spChg>
        <pc:spChg chg="mod">
          <ac:chgData name="Dion3, Alain (SPAC/PSPC) (il-lui / he-him)" userId="b5972ad0-fee1-4393-9fd4-8bc589782ac7" providerId="ADAL" clId="{3ACCABA1-D66F-4904-8251-B355270E7CFD}" dt="2024-10-28T14:43:40.209" v="354" actId="790"/>
          <ac:spMkLst>
            <pc:docMk/>
            <pc:sldMk cId="1022071146" sldId="5154"/>
            <ac:spMk id="85" creationId="{5BF43345-89A2-8BD1-AAB5-685CC2838D7D}"/>
          </ac:spMkLst>
        </pc:spChg>
        <pc:spChg chg="mod">
          <ac:chgData name="Dion3, Alain (SPAC/PSPC) (il-lui / he-him)" userId="b5972ad0-fee1-4393-9fd4-8bc589782ac7" providerId="ADAL" clId="{3ACCABA1-D66F-4904-8251-B355270E7CFD}" dt="2024-10-28T14:43:40.209" v="354" actId="790"/>
          <ac:spMkLst>
            <pc:docMk/>
            <pc:sldMk cId="1022071146" sldId="5154"/>
            <ac:spMk id="86" creationId="{36F3A7BC-2D1A-741B-822A-079CEF79C39F}"/>
          </ac:spMkLst>
        </pc:spChg>
        <pc:spChg chg="mod">
          <ac:chgData name="Dion3, Alain (SPAC/PSPC) (il-lui / he-him)" userId="b5972ad0-fee1-4393-9fd4-8bc589782ac7" providerId="ADAL" clId="{3ACCABA1-D66F-4904-8251-B355270E7CFD}" dt="2024-10-28T14:43:40.209" v="354" actId="790"/>
          <ac:spMkLst>
            <pc:docMk/>
            <pc:sldMk cId="1022071146" sldId="5154"/>
            <ac:spMk id="87" creationId="{A98FC754-5F9D-A6AB-8070-6E366FA59DE0}"/>
          </ac:spMkLst>
        </pc:spChg>
        <pc:spChg chg="mod">
          <ac:chgData name="Dion3, Alain (SPAC/PSPC) (il-lui / he-him)" userId="b5972ad0-fee1-4393-9fd4-8bc589782ac7" providerId="ADAL" clId="{3ACCABA1-D66F-4904-8251-B355270E7CFD}" dt="2024-10-28T14:43:40.209" v="354" actId="790"/>
          <ac:spMkLst>
            <pc:docMk/>
            <pc:sldMk cId="1022071146" sldId="5154"/>
            <ac:spMk id="88" creationId="{A6684F48-A2FE-496D-6BD2-6AF0B6FF503C}"/>
          </ac:spMkLst>
        </pc:spChg>
        <pc:spChg chg="mod">
          <ac:chgData name="Dion3, Alain (SPAC/PSPC) (il-lui / he-him)" userId="b5972ad0-fee1-4393-9fd4-8bc589782ac7" providerId="ADAL" clId="{3ACCABA1-D66F-4904-8251-B355270E7CFD}" dt="2024-10-28T14:43:40.209" v="354" actId="790"/>
          <ac:spMkLst>
            <pc:docMk/>
            <pc:sldMk cId="1022071146" sldId="5154"/>
            <ac:spMk id="89" creationId="{CF1A0002-EC31-0B3E-FF8A-584706C6E1CD}"/>
          </ac:spMkLst>
        </pc:spChg>
        <pc:grpChg chg="replST">
          <ac:chgData name="Dion3, Alain (SPAC/PSPC) (il-lui / he-him)" userId="b5972ad0-fee1-4393-9fd4-8bc589782ac7" providerId="ADAL" clId="{3ACCABA1-D66F-4904-8251-B355270E7CFD}" dt="2024-10-28T13:31:14.508" v="79"/>
          <ac:grpSpMkLst>
            <pc:docMk/>
            <pc:sldMk cId="1022071146" sldId="5154"/>
            <ac:grpSpMk id="6" creationId="{416113E3-E9F4-0DEB-3045-FDE7ADC4CA45}"/>
          </ac:grpSpMkLst>
        </pc:grpChg>
        <pc:picChg chg="replST">
          <ac:chgData name="Dion3, Alain (SPAC/PSPC) (il-lui / he-him)" userId="b5972ad0-fee1-4393-9fd4-8bc589782ac7" providerId="ADAL" clId="{3ACCABA1-D66F-4904-8251-B355270E7CFD}" dt="2024-10-28T13:31:14.502" v="78"/>
          <ac:picMkLst>
            <pc:docMk/>
            <pc:sldMk cId="1022071146" sldId="5154"/>
            <ac:picMk id="4" creationId="{D4402F8A-8A9E-5164-5B84-3A9EF264160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46:34.996" v="392"/>
              <pc2:cmMkLst xmlns:pc2="http://schemas.microsoft.com/office/powerpoint/2019/9/main/command">
                <pc:docMk/>
                <pc:sldMk cId="1022071146" sldId="5154"/>
                <pc2:cmMk id="{90626A41-4D1B-4755-A8E7-7F76F967625F}"/>
              </pc2:cmMkLst>
              <pc226:cmRplyChg chg="add">
                <pc226:chgData name="Dion3, Alain (SPAC/PSPC) (il-lui / he-him)" userId="b5972ad0-fee1-4393-9fd4-8bc589782ac7" providerId="ADAL" clId="{3ACCABA1-D66F-4904-8251-B355270E7CFD}" dt="2024-10-28T14:45:41.433" v="391"/>
                <pc2:cmRplyMkLst xmlns:pc2="http://schemas.microsoft.com/office/powerpoint/2019/9/main/command">
                  <pc:docMk/>
                  <pc:sldMk cId="1022071146" sldId="5154"/>
                  <pc2:cmMk id="{90626A41-4D1B-4755-A8E7-7F76F967625F}"/>
                  <pc2:cmRplyMk id="{F651E160-2270-4CD9-B9FC-72EBF03C3E0B}"/>
                </pc2:cmRplyMkLst>
              </pc226:cmRplyChg>
            </pc226:cmChg>
          </p:ext>
        </pc:extLst>
      </pc:sldChg>
      <pc:sldChg chg="modSp mod addCm modCm modNotes modNotesTx">
        <pc:chgData name="Dion3, Alain (SPAC/PSPC) (il-lui / he-him)" userId="b5972ad0-fee1-4393-9fd4-8bc589782ac7" providerId="ADAL" clId="{3ACCABA1-D66F-4904-8251-B355270E7CFD}" dt="2024-10-28T14:56:27.896" v="511" actId="313"/>
        <pc:sldMkLst>
          <pc:docMk/>
          <pc:sldMk cId="127833343" sldId="5156"/>
        </pc:sldMkLst>
        <pc:spChg chg="replST">
          <ac:chgData name="Dion3, Alain (SPAC/PSPC) (il-lui / he-him)" userId="b5972ad0-fee1-4393-9fd4-8bc589782ac7" providerId="ADAL" clId="{3ACCABA1-D66F-4904-8251-B355270E7CFD}" dt="2024-10-28T13:31:14.515" v="80"/>
          <ac:spMkLst>
            <pc:docMk/>
            <pc:sldMk cId="127833343" sldId="5156"/>
            <ac:spMk id="2" creationId="{0DA1C67A-4FAB-556C-5C8D-241597F9DA1B}"/>
          </ac:spMkLst>
        </pc:spChg>
        <pc:spChg chg="replST">
          <ac:chgData name="Dion3, Alain (SPAC/PSPC) (il-lui / he-him)" userId="b5972ad0-fee1-4393-9fd4-8bc589782ac7" providerId="ADAL" clId="{3ACCABA1-D66F-4904-8251-B355270E7CFD}" dt="2024-10-28T13:31:14.520" v="81"/>
          <ac:spMkLst>
            <pc:docMk/>
            <pc:sldMk cId="127833343" sldId="5156"/>
            <ac:spMk id="4" creationId="{6E84A27E-2844-316E-6672-1236545BDBDC}"/>
          </ac:spMkLst>
        </pc:spChg>
        <pc:graphicFrameChg chg="replST">
          <ac:chgData name="Dion3, Alain (SPAC/PSPC) (il-lui / he-him)" userId="b5972ad0-fee1-4393-9fd4-8bc589782ac7" providerId="ADAL" clId="{3ACCABA1-D66F-4904-8251-B355270E7CFD}" dt="2024-10-28T13:31:14.532" v="83"/>
          <ac:graphicFrameMkLst>
            <pc:docMk/>
            <pc:sldMk cId="127833343" sldId="5156"/>
            <ac:graphicFrameMk id="17" creationId="{C41D58B7-6B00-125B-22E9-8018C129AE87}"/>
          </ac:graphicFrameMkLst>
        </pc:graphicFrameChg>
        <pc:picChg chg="replST">
          <ac:chgData name="Dion3, Alain (SPAC/PSPC) (il-lui / he-him)" userId="b5972ad0-fee1-4393-9fd4-8bc589782ac7" providerId="ADAL" clId="{3ACCABA1-D66F-4904-8251-B355270E7CFD}" dt="2024-10-28T13:31:14.526" v="82"/>
          <ac:picMkLst>
            <pc:docMk/>
            <pc:sldMk cId="127833343" sldId="5156"/>
            <ac:picMk id="3" creationId="{FA486D70-CC58-8A4B-29FE-3602F3FC2401}"/>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4:50:25.701" v="454"/>
              <pc2:cmMkLst xmlns:pc2="http://schemas.microsoft.com/office/powerpoint/2019/9/main/command">
                <pc:docMk/>
                <pc:sldMk cId="127833343" sldId="5156"/>
                <pc2:cmMk id="{F606A351-743E-4B21-AEA4-28542AF9593B}"/>
              </pc2:cmMkLst>
            </pc226:cmChg>
            <pc226:cmChg xmlns:pc226="http://schemas.microsoft.com/office/powerpoint/2022/06/main/command" chg="add mod">
              <pc226:chgData name="Dion3, Alain (SPAC/PSPC) (il-lui / he-him)" userId="b5972ad0-fee1-4393-9fd4-8bc589782ac7" providerId="ADAL" clId="{3ACCABA1-D66F-4904-8251-B355270E7CFD}" dt="2024-10-28T14:54:55.769" v="488"/>
              <pc2:cmMkLst xmlns:pc2="http://schemas.microsoft.com/office/powerpoint/2019/9/main/command">
                <pc:docMk/>
                <pc:sldMk cId="127833343" sldId="5156"/>
                <pc2:cmMk id="{D92B9589-F440-4DF9-AD5F-E3365BD34DC1}"/>
              </pc2:cmMkLst>
            </pc226:cmChg>
            <pc226:cmChg xmlns:pc226="http://schemas.microsoft.com/office/powerpoint/2022/06/main/command" chg="add">
              <pc226:chgData name="Dion3, Alain (SPAC/PSPC) (il-lui / he-him)" userId="b5972ad0-fee1-4393-9fd4-8bc589782ac7" providerId="ADAL" clId="{3ACCABA1-D66F-4904-8251-B355270E7CFD}" dt="2024-10-28T14:52:50.579" v="485"/>
              <pc2:cmMkLst xmlns:pc2="http://schemas.microsoft.com/office/powerpoint/2019/9/main/command">
                <pc:docMk/>
                <pc:sldMk cId="127833343" sldId="5156"/>
                <pc2:cmMk id="{D3231298-DF8E-44CE-8420-26FC556B1B52}"/>
              </pc2:cmMkLst>
            </pc226:cmChg>
            <pc226:cmChg xmlns:pc226="http://schemas.microsoft.com/office/powerpoint/2022/06/main/command" chg="add">
              <pc226:chgData name="Dion3, Alain (SPAC/PSPC) (il-lui / he-him)" userId="b5972ad0-fee1-4393-9fd4-8bc589782ac7" providerId="ADAL" clId="{3ACCABA1-D66F-4904-8251-B355270E7CFD}" dt="2024-10-28T14:51:35.723" v="455"/>
              <pc2:cmMkLst xmlns:pc2="http://schemas.microsoft.com/office/powerpoint/2019/9/main/command">
                <pc:docMk/>
                <pc:sldMk cId="127833343" sldId="5156"/>
                <pc2:cmMk id="{136D97A2-F13C-4833-83D9-7FAD2EF41064}"/>
              </pc2:cmMkLst>
            </pc226:cmChg>
            <pc226:cmChg xmlns:pc226="http://schemas.microsoft.com/office/powerpoint/2022/06/main/command" chg="add">
              <pc226:chgData name="Dion3, Alain (SPAC/PSPC) (il-lui / he-him)" userId="b5972ad0-fee1-4393-9fd4-8bc589782ac7" providerId="ADAL" clId="{3ACCABA1-D66F-4904-8251-B355270E7CFD}" dt="2024-10-28T14:48:22.868" v="453"/>
              <pc2:cmMkLst xmlns:pc2="http://schemas.microsoft.com/office/powerpoint/2019/9/main/command">
                <pc:docMk/>
                <pc:sldMk cId="127833343" sldId="5156"/>
                <pc2:cmMk id="{B86F3CA6-6762-47C6-935C-E7B2EE3CEF4A}"/>
              </pc2:cmMkLst>
            </pc226:cmChg>
          </p:ext>
        </pc:extLst>
      </pc:sldChg>
      <pc:sldChg chg="modSp mod modNotesTx">
        <pc:chgData name="Dion3, Alain (SPAC/PSPC) (il-lui / he-him)" userId="b5972ad0-fee1-4393-9fd4-8bc589782ac7" providerId="ADAL" clId="{3ACCABA1-D66F-4904-8251-B355270E7CFD}" dt="2024-10-28T14:42:39.281" v="353" actId="20577"/>
        <pc:sldMkLst>
          <pc:docMk/>
          <pc:sldMk cId="1906248257" sldId="5157"/>
        </pc:sldMkLst>
        <pc:spChg chg="mod replST">
          <ac:chgData name="Dion3, Alain (SPAC/PSPC) (il-lui / he-him)" userId="b5972ad0-fee1-4393-9fd4-8bc589782ac7" providerId="ADAL" clId="{3ACCABA1-D66F-4904-8251-B355270E7CFD}" dt="2024-10-28T14:40:16.565" v="311" actId="790"/>
          <ac:spMkLst>
            <pc:docMk/>
            <pc:sldMk cId="1906248257" sldId="5157"/>
            <ac:spMk id="2" creationId="{E2A90173-C9BE-15AB-2F1B-343129698A10}"/>
          </ac:spMkLst>
        </pc:spChg>
        <pc:spChg chg="mod replST">
          <ac:chgData name="Dion3, Alain (SPAC/PSPC) (il-lui / he-him)" userId="b5972ad0-fee1-4393-9fd4-8bc589782ac7" providerId="ADAL" clId="{3ACCABA1-D66F-4904-8251-B355270E7CFD}" dt="2024-10-28T14:40:31.755" v="312" actId="313"/>
          <ac:spMkLst>
            <pc:docMk/>
            <pc:sldMk cId="1906248257" sldId="5157"/>
            <ac:spMk id="3" creationId="{7A78167E-F052-C9E8-04C8-15DFB9851FEC}"/>
          </ac:spMkLst>
        </pc:spChg>
        <pc:spChg chg="mod replST">
          <ac:chgData name="Dion3, Alain (SPAC/PSPC) (il-lui / he-him)" userId="b5972ad0-fee1-4393-9fd4-8bc589782ac7" providerId="ADAL" clId="{3ACCABA1-D66F-4904-8251-B355270E7CFD}" dt="2024-10-28T14:40:16.565" v="311" actId="790"/>
          <ac:spMkLst>
            <pc:docMk/>
            <pc:sldMk cId="1906248257" sldId="5157"/>
            <ac:spMk id="5" creationId="{990E4937-9203-80F1-1D3B-46A2B6309F3A}"/>
          </ac:spMkLst>
        </pc:spChg>
        <pc:spChg chg="mod replST">
          <ac:chgData name="Dion3, Alain (SPAC/PSPC) (il-lui / he-him)" userId="b5972ad0-fee1-4393-9fd4-8bc589782ac7" providerId="ADAL" clId="{3ACCABA1-D66F-4904-8251-B355270E7CFD}" dt="2024-10-28T14:40:16.565" v="311" actId="790"/>
          <ac:spMkLst>
            <pc:docMk/>
            <pc:sldMk cId="1906248257" sldId="5157"/>
            <ac:spMk id="7" creationId="{CC2D8B5B-DD81-8C68-A503-6C536867FD7F}"/>
          </ac:spMkLst>
        </pc:spChg>
        <pc:spChg chg="mod replST">
          <ac:chgData name="Dion3, Alain (SPAC/PSPC) (il-lui / he-him)" userId="b5972ad0-fee1-4393-9fd4-8bc589782ac7" providerId="ADAL" clId="{3ACCABA1-D66F-4904-8251-B355270E7CFD}" dt="2024-10-28T14:40:16.565" v="311" actId="790"/>
          <ac:spMkLst>
            <pc:docMk/>
            <pc:sldMk cId="1906248257" sldId="5157"/>
            <ac:spMk id="12" creationId="{79E5A377-DAE4-753B-F5E9-24A86950F8FE}"/>
          </ac:spMkLst>
        </pc:spChg>
        <pc:spChg chg="mod replST">
          <ac:chgData name="Dion3, Alain (SPAC/PSPC) (il-lui / he-him)" userId="b5972ad0-fee1-4393-9fd4-8bc589782ac7" providerId="ADAL" clId="{3ACCABA1-D66F-4904-8251-B355270E7CFD}" dt="2024-10-28T14:40:16.565" v="311" actId="790"/>
          <ac:spMkLst>
            <pc:docMk/>
            <pc:sldMk cId="1906248257" sldId="5157"/>
            <ac:spMk id="13" creationId="{D0C12D73-8CDE-B900-CBD1-6FC806D83D2C}"/>
          </ac:spMkLst>
        </pc:spChg>
        <pc:picChg chg="replST">
          <ac:chgData name="Dion3, Alain (SPAC/PSPC) (il-lui / he-him)" userId="b5972ad0-fee1-4393-9fd4-8bc589782ac7" providerId="ADAL" clId="{3ACCABA1-D66F-4904-8251-B355270E7CFD}" dt="2024-10-28T13:31:14.455" v="70"/>
          <ac:picMkLst>
            <pc:docMk/>
            <pc:sldMk cId="1906248257" sldId="5157"/>
            <ac:picMk id="4" creationId="{D4402F8A-8A9E-5164-5B84-3A9EF2641609}"/>
          </ac:picMkLst>
        </pc:picChg>
        <pc:picChg chg="replST">
          <ac:chgData name="Dion3, Alain (SPAC/PSPC) (il-lui / he-him)" userId="b5972ad0-fee1-4393-9fd4-8bc589782ac7" providerId="ADAL" clId="{3ACCABA1-D66F-4904-8251-B355270E7CFD}" dt="2024-10-28T13:31:14.461" v="71"/>
          <ac:picMkLst>
            <pc:docMk/>
            <pc:sldMk cId="1906248257" sldId="5157"/>
            <ac:picMk id="6" creationId="{185AE60D-63D0-0E73-0759-4A42E0272CBF}"/>
          </ac:picMkLst>
        </pc:picChg>
      </pc:sldChg>
      <pc:sldChg chg="modSp mod addCm modCm">
        <pc:chgData name="Dion3, Alain (SPAC/PSPC) (il-lui / he-him)" userId="b5972ad0-fee1-4393-9fd4-8bc589782ac7" providerId="ADAL" clId="{3ACCABA1-D66F-4904-8251-B355270E7CFD}" dt="2024-10-28T14:23:52.103" v="270"/>
        <pc:sldMkLst>
          <pc:docMk/>
          <pc:sldMk cId="1455389328" sldId="5161"/>
        </pc:sldMkLst>
        <pc:spChg chg="mod replST">
          <ac:chgData name="Dion3, Alain (SPAC/PSPC) (il-lui / he-him)" userId="b5972ad0-fee1-4393-9fd4-8bc589782ac7" providerId="ADAL" clId="{3ACCABA1-D66F-4904-8251-B355270E7CFD}" dt="2024-10-28T14:22:38.448" v="266" actId="790"/>
          <ac:spMkLst>
            <pc:docMk/>
            <pc:sldMk cId="1455389328" sldId="5161"/>
            <ac:spMk id="2" creationId="{E2A90173-C9BE-15AB-2F1B-343129698A10}"/>
          </ac:spMkLst>
        </pc:spChg>
        <pc:spChg chg="mod replST">
          <ac:chgData name="Dion3, Alain (SPAC/PSPC) (il-lui / he-him)" userId="b5972ad0-fee1-4393-9fd4-8bc589782ac7" providerId="ADAL" clId="{3ACCABA1-D66F-4904-8251-B355270E7CFD}" dt="2024-10-28T14:22:45.026" v="268" actId="20577"/>
          <ac:spMkLst>
            <pc:docMk/>
            <pc:sldMk cId="1455389328" sldId="5161"/>
            <ac:spMk id="3" creationId="{7A78167E-F052-C9E8-04C8-15DFB9851FEC}"/>
          </ac:spMkLst>
        </pc:spChg>
        <pc:spChg chg="mod replST">
          <ac:chgData name="Dion3, Alain (SPAC/PSPC) (il-lui / he-him)" userId="b5972ad0-fee1-4393-9fd4-8bc589782ac7" providerId="ADAL" clId="{3ACCABA1-D66F-4904-8251-B355270E7CFD}" dt="2024-10-28T14:22:38.448" v="266" actId="790"/>
          <ac:spMkLst>
            <pc:docMk/>
            <pc:sldMk cId="1455389328" sldId="5161"/>
            <ac:spMk id="5" creationId="{990E4937-9203-80F1-1D3B-46A2B6309F3A}"/>
          </ac:spMkLst>
        </pc:spChg>
        <pc:picChg chg="replST">
          <ac:chgData name="Dion3, Alain (SPAC/PSPC) (il-lui / he-him)" userId="b5972ad0-fee1-4393-9fd4-8bc589782ac7" providerId="ADAL" clId="{3ACCABA1-D66F-4904-8251-B355270E7CFD}" dt="2024-10-28T13:31:14.385" v="60"/>
          <ac:picMkLst>
            <pc:docMk/>
            <pc:sldMk cId="1455389328" sldId="5161"/>
            <ac:picMk id="4" creationId="{D4402F8A-8A9E-5164-5B84-3A9EF264160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23:52.103" v="270"/>
              <pc2:cmMkLst xmlns:pc2="http://schemas.microsoft.com/office/powerpoint/2019/9/main/command">
                <pc:docMk/>
                <pc:sldMk cId="1455389328" sldId="5161"/>
                <pc2:cmMk id="{C7F2A920-AA00-4BFC-B913-A16A62B0C314}"/>
              </pc2:cmMkLst>
            </pc226:cmChg>
          </p:ext>
        </pc:extLst>
      </pc:sldChg>
      <pc:sldChg chg="modSp mod">
        <pc:chgData name="Dion3, Alain (SPAC/PSPC) (il-lui / he-him)" userId="b5972ad0-fee1-4393-9fd4-8bc589782ac7" providerId="ADAL" clId="{3ACCABA1-D66F-4904-8251-B355270E7CFD}" dt="2024-10-28T13:31:51.108" v="151" actId="790"/>
        <pc:sldMkLst>
          <pc:docMk/>
          <pc:sldMk cId="630006528" sldId="5162"/>
        </pc:sldMkLst>
        <pc:spChg chg="mod replST">
          <ac:chgData name="Dion3, Alain (SPAC/PSPC) (il-lui / he-him)" userId="b5972ad0-fee1-4393-9fd4-8bc589782ac7" providerId="ADAL" clId="{3ACCABA1-D66F-4904-8251-B355270E7CFD}" dt="2024-10-28T13:31:51.108" v="151" actId="790"/>
          <ac:spMkLst>
            <pc:docMk/>
            <pc:sldMk cId="630006528" sldId="5162"/>
            <ac:spMk id="2" creationId="{E2A90173-C9BE-15AB-2F1B-343129698A10}"/>
          </ac:spMkLst>
        </pc:spChg>
        <pc:spChg chg="mod replST">
          <ac:chgData name="Dion3, Alain (SPAC/PSPC) (il-lui / he-him)" userId="b5972ad0-fee1-4393-9fd4-8bc589782ac7" providerId="ADAL" clId="{3ACCABA1-D66F-4904-8251-B355270E7CFD}" dt="2024-10-28T13:31:51.108" v="151" actId="790"/>
          <ac:spMkLst>
            <pc:docMk/>
            <pc:sldMk cId="630006528" sldId="5162"/>
            <ac:spMk id="3" creationId="{7A78167E-F052-C9E8-04C8-15DFB9851FEC}"/>
          </ac:spMkLst>
        </pc:spChg>
        <pc:spChg chg="mod replST">
          <ac:chgData name="Dion3, Alain (SPAC/PSPC) (il-lui / he-him)" userId="b5972ad0-fee1-4393-9fd4-8bc589782ac7" providerId="ADAL" clId="{3ACCABA1-D66F-4904-8251-B355270E7CFD}" dt="2024-10-28T13:31:51.108" v="151" actId="790"/>
          <ac:spMkLst>
            <pc:docMk/>
            <pc:sldMk cId="630006528" sldId="5162"/>
            <ac:spMk id="5" creationId="{990E4937-9203-80F1-1D3B-46A2B6309F3A}"/>
          </ac:spMkLst>
        </pc:spChg>
        <pc:picChg chg="replST">
          <ac:chgData name="Dion3, Alain (SPAC/PSPC) (il-lui / he-him)" userId="b5972ad0-fee1-4393-9fd4-8bc589782ac7" providerId="ADAL" clId="{3ACCABA1-D66F-4904-8251-B355270E7CFD}" dt="2024-10-28T13:31:14.103" v="17"/>
          <ac:picMkLst>
            <pc:docMk/>
            <pc:sldMk cId="630006528" sldId="5162"/>
            <ac:picMk id="4" creationId="{D4402F8A-8A9E-5164-5B84-3A9EF2641609}"/>
          </ac:picMkLst>
        </pc:picChg>
      </pc:sldChg>
      <pc:sldChg chg="modSp mod">
        <pc:chgData name="Dion3, Alain (SPAC/PSPC) (il-lui / he-him)" userId="b5972ad0-fee1-4393-9fd4-8bc589782ac7" providerId="ADAL" clId="{3ACCABA1-D66F-4904-8251-B355270E7CFD}" dt="2024-10-28T14:57:23.339" v="532" actId="20577"/>
        <pc:sldMkLst>
          <pc:docMk/>
          <pc:sldMk cId="416905842" sldId="5163"/>
        </pc:sldMkLst>
        <pc:spChg chg="mod replST">
          <ac:chgData name="Dion3, Alain (SPAC/PSPC) (il-lui / he-him)" userId="b5972ad0-fee1-4393-9fd4-8bc589782ac7" providerId="ADAL" clId="{3ACCABA1-D66F-4904-8251-B355270E7CFD}" dt="2024-10-28T14:57:04.774" v="512" actId="790"/>
          <ac:spMkLst>
            <pc:docMk/>
            <pc:sldMk cId="416905842" sldId="5163"/>
            <ac:spMk id="2" creationId="{0DA1C67A-4FAB-556C-5C8D-241597F9DA1B}"/>
          </ac:spMkLst>
        </pc:spChg>
        <pc:spChg chg="mod replST">
          <ac:chgData name="Dion3, Alain (SPAC/PSPC) (il-lui / he-him)" userId="b5972ad0-fee1-4393-9fd4-8bc589782ac7" providerId="ADAL" clId="{3ACCABA1-D66F-4904-8251-B355270E7CFD}" dt="2024-10-28T14:57:04.774" v="512" actId="790"/>
          <ac:spMkLst>
            <pc:docMk/>
            <pc:sldMk cId="416905842" sldId="5163"/>
            <ac:spMk id="4" creationId="{6E84A27E-2844-316E-6672-1236545BDBDC}"/>
          </ac:spMkLst>
        </pc:spChg>
        <pc:spChg chg="mod replST">
          <ac:chgData name="Dion3, Alain (SPAC/PSPC) (il-lui / he-him)" userId="b5972ad0-fee1-4393-9fd4-8bc589782ac7" providerId="ADAL" clId="{3ACCABA1-D66F-4904-8251-B355270E7CFD}" dt="2024-10-28T14:57:04.774" v="512" actId="790"/>
          <ac:spMkLst>
            <pc:docMk/>
            <pc:sldMk cId="416905842" sldId="5163"/>
            <ac:spMk id="5" creationId="{A4374EFD-96BA-20EC-CC27-A13CEB0C6400}"/>
          </ac:spMkLst>
        </pc:spChg>
        <pc:spChg chg="mod replST">
          <ac:chgData name="Dion3, Alain (SPAC/PSPC) (il-lui / he-him)" userId="b5972ad0-fee1-4393-9fd4-8bc589782ac7" providerId="ADAL" clId="{3ACCABA1-D66F-4904-8251-B355270E7CFD}" dt="2024-10-28T14:57:04.774" v="512" actId="790"/>
          <ac:spMkLst>
            <pc:docMk/>
            <pc:sldMk cId="416905842" sldId="5163"/>
            <ac:spMk id="6" creationId="{1EEE46AB-E199-BFF5-8717-7CE4227F668E}"/>
          </ac:spMkLst>
        </pc:spChg>
        <pc:spChg chg="mod replST">
          <ac:chgData name="Dion3, Alain (SPAC/PSPC) (il-lui / he-him)" userId="b5972ad0-fee1-4393-9fd4-8bc589782ac7" providerId="ADAL" clId="{3ACCABA1-D66F-4904-8251-B355270E7CFD}" dt="2024-10-28T14:57:04.774" v="512" actId="790"/>
          <ac:spMkLst>
            <pc:docMk/>
            <pc:sldMk cId="416905842" sldId="5163"/>
            <ac:spMk id="7" creationId="{F6FC4EB5-6A97-F3B8-AEBA-5B4EDA1C15B9}"/>
          </ac:spMkLst>
        </pc:spChg>
        <pc:spChg chg="mod replST">
          <ac:chgData name="Dion3, Alain (SPAC/PSPC) (il-lui / he-him)" userId="b5972ad0-fee1-4393-9fd4-8bc589782ac7" providerId="ADAL" clId="{3ACCABA1-D66F-4904-8251-B355270E7CFD}" dt="2024-10-28T14:57:04.774" v="512" actId="790"/>
          <ac:spMkLst>
            <pc:docMk/>
            <pc:sldMk cId="416905842" sldId="5163"/>
            <ac:spMk id="9" creationId="{92F5A39C-7194-FD3B-3DAF-BF8DE677C204}"/>
          </ac:spMkLst>
        </pc:spChg>
        <pc:spChg chg="mod replST">
          <ac:chgData name="Dion3, Alain (SPAC/PSPC) (il-lui / he-him)" userId="b5972ad0-fee1-4393-9fd4-8bc589782ac7" providerId="ADAL" clId="{3ACCABA1-D66F-4904-8251-B355270E7CFD}" dt="2024-10-28T14:57:04.774" v="512" actId="790"/>
          <ac:spMkLst>
            <pc:docMk/>
            <pc:sldMk cId="416905842" sldId="5163"/>
            <ac:spMk id="10" creationId="{64B9E736-275C-70FF-647F-AD66A2CAF66F}"/>
          </ac:spMkLst>
        </pc:spChg>
        <pc:spChg chg="mod replST">
          <ac:chgData name="Dion3, Alain (SPAC/PSPC) (il-lui / he-him)" userId="b5972ad0-fee1-4393-9fd4-8bc589782ac7" providerId="ADAL" clId="{3ACCABA1-D66F-4904-8251-B355270E7CFD}" dt="2024-10-28T14:57:04.774" v="512" actId="790"/>
          <ac:spMkLst>
            <pc:docMk/>
            <pc:sldMk cId="416905842" sldId="5163"/>
            <ac:spMk id="11" creationId="{801E6EFE-3786-B503-900D-AB1C052C5DC7}"/>
          </ac:spMkLst>
        </pc:spChg>
        <pc:spChg chg="mod replST">
          <ac:chgData name="Dion3, Alain (SPAC/PSPC) (il-lui / he-him)" userId="b5972ad0-fee1-4393-9fd4-8bc589782ac7" providerId="ADAL" clId="{3ACCABA1-D66F-4904-8251-B355270E7CFD}" dt="2024-10-28T14:57:04.774" v="512" actId="790"/>
          <ac:spMkLst>
            <pc:docMk/>
            <pc:sldMk cId="416905842" sldId="5163"/>
            <ac:spMk id="12" creationId="{5A496BE1-88E1-E380-0EE2-6F47622AF956}"/>
          </ac:spMkLst>
        </pc:spChg>
        <pc:spChg chg="mod replST">
          <ac:chgData name="Dion3, Alain (SPAC/PSPC) (il-lui / he-him)" userId="b5972ad0-fee1-4393-9fd4-8bc589782ac7" providerId="ADAL" clId="{3ACCABA1-D66F-4904-8251-B355270E7CFD}" dt="2024-10-28T14:57:04.774" v="512" actId="790"/>
          <ac:spMkLst>
            <pc:docMk/>
            <pc:sldMk cId="416905842" sldId="5163"/>
            <ac:spMk id="13" creationId="{918BF31B-5C95-6A42-7144-947D2223A772}"/>
          </ac:spMkLst>
        </pc:spChg>
        <pc:spChg chg="mod replST">
          <ac:chgData name="Dion3, Alain (SPAC/PSPC) (il-lui / he-him)" userId="b5972ad0-fee1-4393-9fd4-8bc589782ac7" providerId="ADAL" clId="{3ACCABA1-D66F-4904-8251-B355270E7CFD}" dt="2024-10-28T14:57:04.774" v="512" actId="790"/>
          <ac:spMkLst>
            <pc:docMk/>
            <pc:sldMk cId="416905842" sldId="5163"/>
            <ac:spMk id="14" creationId="{CCB72D98-435F-5CEC-6FB4-919D7DBD56AE}"/>
          </ac:spMkLst>
        </pc:spChg>
        <pc:spChg chg="mod replST">
          <ac:chgData name="Dion3, Alain (SPAC/PSPC) (il-lui / he-him)" userId="b5972ad0-fee1-4393-9fd4-8bc589782ac7" providerId="ADAL" clId="{3ACCABA1-D66F-4904-8251-B355270E7CFD}" dt="2024-10-28T14:57:23.339" v="532" actId="20577"/>
          <ac:spMkLst>
            <pc:docMk/>
            <pc:sldMk cId="416905842" sldId="5163"/>
            <ac:spMk id="15" creationId="{88223E01-4461-3929-D0F3-0D9E480586ED}"/>
          </ac:spMkLst>
        </pc:spChg>
        <pc:spChg chg="mod replST">
          <ac:chgData name="Dion3, Alain (SPAC/PSPC) (il-lui / he-him)" userId="b5972ad0-fee1-4393-9fd4-8bc589782ac7" providerId="ADAL" clId="{3ACCABA1-D66F-4904-8251-B355270E7CFD}" dt="2024-10-28T14:57:04.774" v="512" actId="790"/>
          <ac:spMkLst>
            <pc:docMk/>
            <pc:sldMk cId="416905842" sldId="5163"/>
            <ac:spMk id="16" creationId="{2C35CEA1-D994-28EA-4A4F-631EDF5BE865}"/>
          </ac:spMkLst>
        </pc:spChg>
        <pc:spChg chg="mod replST">
          <ac:chgData name="Dion3, Alain (SPAC/PSPC) (il-lui / he-him)" userId="b5972ad0-fee1-4393-9fd4-8bc589782ac7" providerId="ADAL" clId="{3ACCABA1-D66F-4904-8251-B355270E7CFD}" dt="2024-10-28T14:57:04.774" v="512" actId="790"/>
          <ac:spMkLst>
            <pc:docMk/>
            <pc:sldMk cId="416905842" sldId="5163"/>
            <ac:spMk id="17" creationId="{66FF4875-49A7-FD78-EF0A-747DFB4CD1C8}"/>
          </ac:spMkLst>
        </pc:spChg>
        <pc:spChg chg="mod replST">
          <ac:chgData name="Dion3, Alain (SPAC/PSPC) (il-lui / he-him)" userId="b5972ad0-fee1-4393-9fd4-8bc589782ac7" providerId="ADAL" clId="{3ACCABA1-D66F-4904-8251-B355270E7CFD}" dt="2024-10-28T14:57:04.774" v="512" actId="790"/>
          <ac:spMkLst>
            <pc:docMk/>
            <pc:sldMk cId="416905842" sldId="5163"/>
            <ac:spMk id="18" creationId="{DBB57DC8-4628-1B79-318B-666FC4670D91}"/>
          </ac:spMkLst>
        </pc:spChg>
        <pc:spChg chg="mod replST">
          <ac:chgData name="Dion3, Alain (SPAC/PSPC) (il-lui / he-him)" userId="b5972ad0-fee1-4393-9fd4-8bc589782ac7" providerId="ADAL" clId="{3ACCABA1-D66F-4904-8251-B355270E7CFD}" dt="2024-10-28T14:57:04.774" v="512" actId="790"/>
          <ac:spMkLst>
            <pc:docMk/>
            <pc:sldMk cId="416905842" sldId="5163"/>
            <ac:spMk id="19" creationId="{AF495A8B-A250-7A4D-21E3-921C682454ED}"/>
          </ac:spMkLst>
        </pc:spChg>
        <pc:spChg chg="mod replST">
          <ac:chgData name="Dion3, Alain (SPAC/PSPC) (il-lui / he-him)" userId="b5972ad0-fee1-4393-9fd4-8bc589782ac7" providerId="ADAL" clId="{3ACCABA1-D66F-4904-8251-B355270E7CFD}" dt="2024-10-28T14:57:04.774" v="512" actId="790"/>
          <ac:spMkLst>
            <pc:docMk/>
            <pc:sldMk cId="416905842" sldId="5163"/>
            <ac:spMk id="20" creationId="{CFA085D6-0099-ED89-398A-18F25D593F88}"/>
          </ac:spMkLst>
        </pc:spChg>
        <pc:spChg chg="mod replST">
          <ac:chgData name="Dion3, Alain (SPAC/PSPC) (il-lui / he-him)" userId="b5972ad0-fee1-4393-9fd4-8bc589782ac7" providerId="ADAL" clId="{3ACCABA1-D66F-4904-8251-B355270E7CFD}" dt="2024-10-28T14:57:04.774" v="512" actId="790"/>
          <ac:spMkLst>
            <pc:docMk/>
            <pc:sldMk cId="416905842" sldId="5163"/>
            <ac:spMk id="22" creationId="{C612F677-64CF-8D3A-4DB1-4DE1B2AF9EA1}"/>
          </ac:spMkLst>
        </pc:spChg>
        <pc:spChg chg="mod replST">
          <ac:chgData name="Dion3, Alain (SPAC/PSPC) (il-lui / he-him)" userId="b5972ad0-fee1-4393-9fd4-8bc589782ac7" providerId="ADAL" clId="{3ACCABA1-D66F-4904-8251-B355270E7CFD}" dt="2024-10-28T14:57:04.774" v="512" actId="790"/>
          <ac:spMkLst>
            <pc:docMk/>
            <pc:sldMk cId="416905842" sldId="5163"/>
            <ac:spMk id="24" creationId="{46475CA0-5389-EEDC-9749-512BE3642A63}"/>
          </ac:spMkLst>
        </pc:spChg>
        <pc:spChg chg="mod replST">
          <ac:chgData name="Dion3, Alain (SPAC/PSPC) (il-lui / he-him)" userId="b5972ad0-fee1-4393-9fd4-8bc589782ac7" providerId="ADAL" clId="{3ACCABA1-D66F-4904-8251-B355270E7CFD}" dt="2024-10-28T14:57:04.774" v="512" actId="790"/>
          <ac:spMkLst>
            <pc:docMk/>
            <pc:sldMk cId="416905842" sldId="5163"/>
            <ac:spMk id="25" creationId="{9D314767-FE2C-346B-8209-21ED556BD3C8}"/>
          </ac:spMkLst>
        </pc:spChg>
        <pc:spChg chg="mod replST">
          <ac:chgData name="Dion3, Alain (SPAC/PSPC) (il-lui / he-him)" userId="b5972ad0-fee1-4393-9fd4-8bc589782ac7" providerId="ADAL" clId="{3ACCABA1-D66F-4904-8251-B355270E7CFD}" dt="2024-10-28T14:57:04.774" v="512" actId="790"/>
          <ac:spMkLst>
            <pc:docMk/>
            <pc:sldMk cId="416905842" sldId="5163"/>
            <ac:spMk id="26" creationId="{324E2945-CFA9-E091-39A7-0B3A162EC931}"/>
          </ac:spMkLst>
        </pc:spChg>
        <pc:spChg chg="mod replST">
          <ac:chgData name="Dion3, Alain (SPAC/PSPC) (il-lui / he-him)" userId="b5972ad0-fee1-4393-9fd4-8bc589782ac7" providerId="ADAL" clId="{3ACCABA1-D66F-4904-8251-B355270E7CFD}" dt="2024-10-28T14:57:04.774" v="512" actId="790"/>
          <ac:spMkLst>
            <pc:docMk/>
            <pc:sldMk cId="416905842" sldId="5163"/>
            <ac:spMk id="27" creationId="{11ECA5C9-9824-DF69-5A99-FCF83FBBF07E}"/>
          </ac:spMkLst>
        </pc:spChg>
        <pc:spChg chg="mod replST">
          <ac:chgData name="Dion3, Alain (SPAC/PSPC) (il-lui / he-him)" userId="b5972ad0-fee1-4393-9fd4-8bc589782ac7" providerId="ADAL" clId="{3ACCABA1-D66F-4904-8251-B355270E7CFD}" dt="2024-10-28T14:57:04.774" v="512" actId="790"/>
          <ac:spMkLst>
            <pc:docMk/>
            <pc:sldMk cId="416905842" sldId="5163"/>
            <ac:spMk id="28" creationId="{0A62947A-5147-AF36-8215-7461ED6217C6}"/>
          </ac:spMkLst>
        </pc:spChg>
        <pc:spChg chg="mod replST">
          <ac:chgData name="Dion3, Alain (SPAC/PSPC) (il-lui / he-him)" userId="b5972ad0-fee1-4393-9fd4-8bc589782ac7" providerId="ADAL" clId="{3ACCABA1-D66F-4904-8251-B355270E7CFD}" dt="2024-10-28T14:57:04.774" v="512" actId="790"/>
          <ac:spMkLst>
            <pc:docMk/>
            <pc:sldMk cId="416905842" sldId="5163"/>
            <ac:spMk id="30" creationId="{2ACFEF68-1F4C-FC65-92A8-C60D7FC9DA1B}"/>
          </ac:spMkLst>
        </pc:spChg>
        <pc:spChg chg="mod replST">
          <ac:chgData name="Dion3, Alain (SPAC/PSPC) (il-lui / he-him)" userId="b5972ad0-fee1-4393-9fd4-8bc589782ac7" providerId="ADAL" clId="{3ACCABA1-D66F-4904-8251-B355270E7CFD}" dt="2024-10-28T14:57:04.774" v="512" actId="790"/>
          <ac:spMkLst>
            <pc:docMk/>
            <pc:sldMk cId="416905842" sldId="5163"/>
            <ac:spMk id="31" creationId="{F1FC45FA-1DF2-7C17-C659-9ED369795783}"/>
          </ac:spMkLst>
        </pc:spChg>
        <pc:spChg chg="mod replST">
          <ac:chgData name="Dion3, Alain (SPAC/PSPC) (il-lui / he-him)" userId="b5972ad0-fee1-4393-9fd4-8bc589782ac7" providerId="ADAL" clId="{3ACCABA1-D66F-4904-8251-B355270E7CFD}" dt="2024-10-28T14:57:04.774" v="512" actId="790"/>
          <ac:spMkLst>
            <pc:docMk/>
            <pc:sldMk cId="416905842" sldId="5163"/>
            <ac:spMk id="33" creationId="{B52E6772-4247-DF96-8615-5FF05951886D}"/>
          </ac:spMkLst>
        </pc:spChg>
        <pc:spChg chg="mod replST">
          <ac:chgData name="Dion3, Alain (SPAC/PSPC) (il-lui / he-him)" userId="b5972ad0-fee1-4393-9fd4-8bc589782ac7" providerId="ADAL" clId="{3ACCABA1-D66F-4904-8251-B355270E7CFD}" dt="2024-10-28T14:57:04.774" v="512" actId="790"/>
          <ac:spMkLst>
            <pc:docMk/>
            <pc:sldMk cId="416905842" sldId="5163"/>
            <ac:spMk id="34" creationId="{F7AE0944-3100-D1BD-EAD8-DD82CA214995}"/>
          </ac:spMkLst>
        </pc:spChg>
        <pc:spChg chg="mod replST">
          <ac:chgData name="Dion3, Alain (SPAC/PSPC) (il-lui / he-him)" userId="b5972ad0-fee1-4393-9fd4-8bc589782ac7" providerId="ADAL" clId="{3ACCABA1-D66F-4904-8251-B355270E7CFD}" dt="2024-10-28T14:57:04.774" v="512" actId="790"/>
          <ac:spMkLst>
            <pc:docMk/>
            <pc:sldMk cId="416905842" sldId="5163"/>
            <ac:spMk id="35" creationId="{A45381C8-31CD-44E3-FCCB-74232805A5CB}"/>
          </ac:spMkLst>
        </pc:spChg>
        <pc:spChg chg="mod replST">
          <ac:chgData name="Dion3, Alain (SPAC/PSPC) (il-lui / he-him)" userId="b5972ad0-fee1-4393-9fd4-8bc589782ac7" providerId="ADAL" clId="{3ACCABA1-D66F-4904-8251-B355270E7CFD}" dt="2024-10-28T14:57:04.774" v="512" actId="790"/>
          <ac:spMkLst>
            <pc:docMk/>
            <pc:sldMk cId="416905842" sldId="5163"/>
            <ac:spMk id="36" creationId="{9FA4E66A-B415-8D50-2224-E9B708C19B9F}"/>
          </ac:spMkLst>
        </pc:spChg>
        <pc:spChg chg="mod replST">
          <ac:chgData name="Dion3, Alain (SPAC/PSPC) (il-lui / he-him)" userId="b5972ad0-fee1-4393-9fd4-8bc589782ac7" providerId="ADAL" clId="{3ACCABA1-D66F-4904-8251-B355270E7CFD}" dt="2024-10-28T14:57:04.774" v="512" actId="790"/>
          <ac:spMkLst>
            <pc:docMk/>
            <pc:sldMk cId="416905842" sldId="5163"/>
            <ac:spMk id="38" creationId="{75825BFD-0590-0064-1DB0-3560C4BC6CBC}"/>
          </ac:spMkLst>
        </pc:spChg>
        <pc:spChg chg="mod replST">
          <ac:chgData name="Dion3, Alain (SPAC/PSPC) (il-lui / he-him)" userId="b5972ad0-fee1-4393-9fd4-8bc589782ac7" providerId="ADAL" clId="{3ACCABA1-D66F-4904-8251-B355270E7CFD}" dt="2024-10-28T14:57:04.774" v="512" actId="790"/>
          <ac:spMkLst>
            <pc:docMk/>
            <pc:sldMk cId="416905842" sldId="5163"/>
            <ac:spMk id="40" creationId="{543AE277-053A-1846-322B-402EC8E55235}"/>
          </ac:spMkLst>
        </pc:spChg>
        <pc:spChg chg="mod replST">
          <ac:chgData name="Dion3, Alain (SPAC/PSPC) (il-lui / he-him)" userId="b5972ad0-fee1-4393-9fd4-8bc589782ac7" providerId="ADAL" clId="{3ACCABA1-D66F-4904-8251-B355270E7CFD}" dt="2024-10-28T14:57:04.774" v="512" actId="790"/>
          <ac:spMkLst>
            <pc:docMk/>
            <pc:sldMk cId="416905842" sldId="5163"/>
            <ac:spMk id="41" creationId="{6CC2F477-C447-01DD-A0EF-2C71D12FA9E7}"/>
          </ac:spMkLst>
        </pc:spChg>
        <pc:spChg chg="mod replST">
          <ac:chgData name="Dion3, Alain (SPAC/PSPC) (il-lui / he-him)" userId="b5972ad0-fee1-4393-9fd4-8bc589782ac7" providerId="ADAL" clId="{3ACCABA1-D66F-4904-8251-B355270E7CFD}" dt="2024-10-28T14:57:04.774" v="512" actId="790"/>
          <ac:spMkLst>
            <pc:docMk/>
            <pc:sldMk cId="416905842" sldId="5163"/>
            <ac:spMk id="42" creationId="{69A35460-9369-E06A-5878-2E3A1790FD06}"/>
          </ac:spMkLst>
        </pc:spChg>
        <pc:spChg chg="mod replST">
          <ac:chgData name="Dion3, Alain (SPAC/PSPC) (il-lui / he-him)" userId="b5972ad0-fee1-4393-9fd4-8bc589782ac7" providerId="ADAL" clId="{3ACCABA1-D66F-4904-8251-B355270E7CFD}" dt="2024-10-28T14:57:04.774" v="512" actId="790"/>
          <ac:spMkLst>
            <pc:docMk/>
            <pc:sldMk cId="416905842" sldId="5163"/>
            <ac:spMk id="43" creationId="{9EBD7031-D6B8-3C3F-6C21-36F88D9BB280}"/>
          </ac:spMkLst>
        </pc:spChg>
        <pc:spChg chg="mod replST">
          <ac:chgData name="Dion3, Alain (SPAC/PSPC) (il-lui / he-him)" userId="b5972ad0-fee1-4393-9fd4-8bc589782ac7" providerId="ADAL" clId="{3ACCABA1-D66F-4904-8251-B355270E7CFD}" dt="2024-10-28T14:57:04.774" v="512" actId="790"/>
          <ac:spMkLst>
            <pc:docMk/>
            <pc:sldMk cId="416905842" sldId="5163"/>
            <ac:spMk id="45" creationId="{1ECE98B4-7BDD-F02D-1EB2-4363C482AD8C}"/>
          </ac:spMkLst>
        </pc:spChg>
        <pc:spChg chg="mod replST">
          <ac:chgData name="Dion3, Alain (SPAC/PSPC) (il-lui / he-him)" userId="b5972ad0-fee1-4393-9fd4-8bc589782ac7" providerId="ADAL" clId="{3ACCABA1-D66F-4904-8251-B355270E7CFD}" dt="2024-10-28T14:57:04.774" v="512" actId="790"/>
          <ac:spMkLst>
            <pc:docMk/>
            <pc:sldMk cId="416905842" sldId="5163"/>
            <ac:spMk id="46" creationId="{038B6E04-26C2-25D3-B757-F068727BE88E}"/>
          </ac:spMkLst>
        </pc:spChg>
        <pc:spChg chg="mod replST">
          <ac:chgData name="Dion3, Alain (SPAC/PSPC) (il-lui / he-him)" userId="b5972ad0-fee1-4393-9fd4-8bc589782ac7" providerId="ADAL" clId="{3ACCABA1-D66F-4904-8251-B355270E7CFD}" dt="2024-10-28T14:57:04.774" v="512" actId="790"/>
          <ac:spMkLst>
            <pc:docMk/>
            <pc:sldMk cId="416905842" sldId="5163"/>
            <ac:spMk id="48" creationId="{5A7F9F9E-9175-F5DF-2A93-F1044995B2FB}"/>
          </ac:spMkLst>
        </pc:spChg>
        <pc:spChg chg="mod replST">
          <ac:chgData name="Dion3, Alain (SPAC/PSPC) (il-lui / he-him)" userId="b5972ad0-fee1-4393-9fd4-8bc589782ac7" providerId="ADAL" clId="{3ACCABA1-D66F-4904-8251-B355270E7CFD}" dt="2024-10-28T14:57:04.774" v="512" actId="790"/>
          <ac:spMkLst>
            <pc:docMk/>
            <pc:sldMk cId="416905842" sldId="5163"/>
            <ac:spMk id="49" creationId="{A91144D3-0AAE-DE72-53BE-E833CED731E5}"/>
          </ac:spMkLst>
        </pc:spChg>
        <pc:spChg chg="mod replST">
          <ac:chgData name="Dion3, Alain (SPAC/PSPC) (il-lui / he-him)" userId="b5972ad0-fee1-4393-9fd4-8bc589782ac7" providerId="ADAL" clId="{3ACCABA1-D66F-4904-8251-B355270E7CFD}" dt="2024-10-28T14:57:04.774" v="512" actId="790"/>
          <ac:spMkLst>
            <pc:docMk/>
            <pc:sldMk cId="416905842" sldId="5163"/>
            <ac:spMk id="50" creationId="{C12ED88E-D26B-D688-B79C-4074BFFD53F2}"/>
          </ac:spMkLst>
        </pc:spChg>
        <pc:spChg chg="mod replST">
          <ac:chgData name="Dion3, Alain (SPAC/PSPC) (il-lui / he-him)" userId="b5972ad0-fee1-4393-9fd4-8bc589782ac7" providerId="ADAL" clId="{3ACCABA1-D66F-4904-8251-B355270E7CFD}" dt="2024-10-28T14:57:04.774" v="512" actId="790"/>
          <ac:spMkLst>
            <pc:docMk/>
            <pc:sldMk cId="416905842" sldId="5163"/>
            <ac:spMk id="51" creationId="{879975FA-9ACA-8B4E-D7F8-5C70F88FD56A}"/>
          </ac:spMkLst>
        </pc:spChg>
        <pc:spChg chg="mod replST">
          <ac:chgData name="Dion3, Alain (SPAC/PSPC) (il-lui / he-him)" userId="b5972ad0-fee1-4393-9fd4-8bc589782ac7" providerId="ADAL" clId="{3ACCABA1-D66F-4904-8251-B355270E7CFD}" dt="2024-10-28T14:57:04.774" v="512" actId="790"/>
          <ac:spMkLst>
            <pc:docMk/>
            <pc:sldMk cId="416905842" sldId="5163"/>
            <ac:spMk id="52" creationId="{6058D165-FCA6-59E9-C32C-0F1C61DC16FD}"/>
          </ac:spMkLst>
        </pc:spChg>
        <pc:spChg chg="mod replST">
          <ac:chgData name="Dion3, Alain (SPAC/PSPC) (il-lui / he-him)" userId="b5972ad0-fee1-4393-9fd4-8bc589782ac7" providerId="ADAL" clId="{3ACCABA1-D66F-4904-8251-B355270E7CFD}" dt="2024-10-28T14:57:04.774" v="512" actId="790"/>
          <ac:spMkLst>
            <pc:docMk/>
            <pc:sldMk cId="416905842" sldId="5163"/>
            <ac:spMk id="54" creationId="{5E7B02DF-2558-19D5-EC05-27B8F4C6D40F}"/>
          </ac:spMkLst>
        </pc:spChg>
        <pc:spChg chg="mod replST">
          <ac:chgData name="Dion3, Alain (SPAC/PSPC) (il-lui / he-him)" userId="b5972ad0-fee1-4393-9fd4-8bc589782ac7" providerId="ADAL" clId="{3ACCABA1-D66F-4904-8251-B355270E7CFD}" dt="2024-10-28T14:57:04.774" v="512" actId="790"/>
          <ac:spMkLst>
            <pc:docMk/>
            <pc:sldMk cId="416905842" sldId="5163"/>
            <ac:spMk id="55" creationId="{55142A24-5EA0-F55D-51BB-D0DC887A2440}"/>
          </ac:spMkLst>
        </pc:spChg>
        <pc:picChg chg="replST">
          <ac:chgData name="Dion3, Alain (SPAC/PSPC) (il-lui / he-him)" userId="b5972ad0-fee1-4393-9fd4-8bc589782ac7" providerId="ADAL" clId="{3ACCABA1-D66F-4904-8251-B355270E7CFD}" dt="2024-10-28T13:31:14.552" v="86"/>
          <ac:picMkLst>
            <pc:docMk/>
            <pc:sldMk cId="416905842" sldId="5163"/>
            <ac:picMk id="3" creationId="{FA486D70-CC58-8A4B-29FE-3602F3FC2401}"/>
          </ac:picMkLst>
        </pc:picChg>
        <pc:cxnChg chg="replST">
          <ac:chgData name="Dion3, Alain (SPAC/PSPC) (il-lui / he-him)" userId="b5972ad0-fee1-4393-9fd4-8bc589782ac7" providerId="ADAL" clId="{3ACCABA1-D66F-4904-8251-B355270E7CFD}" dt="2024-10-28T13:31:14.646" v="101"/>
          <ac:cxnSpMkLst>
            <pc:docMk/>
            <pc:sldMk cId="416905842" sldId="5163"/>
            <ac:cxnSpMk id="21" creationId="{FA7C870F-1F8C-F607-CBAC-3540C33D8445}"/>
          </ac:cxnSpMkLst>
        </pc:cxnChg>
        <pc:cxnChg chg="replST">
          <ac:chgData name="Dion3, Alain (SPAC/PSPC) (il-lui / he-him)" userId="b5972ad0-fee1-4393-9fd4-8bc589782ac7" providerId="ADAL" clId="{3ACCABA1-D66F-4904-8251-B355270E7CFD}" dt="2024-10-28T13:31:14.658" v="103"/>
          <ac:cxnSpMkLst>
            <pc:docMk/>
            <pc:sldMk cId="416905842" sldId="5163"/>
            <ac:cxnSpMk id="23" creationId="{60956224-3BBE-B324-6C51-85BF60ED8D62}"/>
          </ac:cxnSpMkLst>
        </pc:cxnChg>
        <pc:cxnChg chg="replST">
          <ac:chgData name="Dion3, Alain (SPAC/PSPC) (il-lui / he-him)" userId="b5972ad0-fee1-4393-9fd4-8bc589782ac7" providerId="ADAL" clId="{3ACCABA1-D66F-4904-8251-B355270E7CFD}" dt="2024-10-28T13:31:14.694" v="109"/>
          <ac:cxnSpMkLst>
            <pc:docMk/>
            <pc:sldMk cId="416905842" sldId="5163"/>
            <ac:cxnSpMk id="29" creationId="{EB765993-0C2A-63E9-2E8E-2A0287F7F400}"/>
          </ac:cxnSpMkLst>
        </pc:cxnChg>
        <pc:cxnChg chg="replST">
          <ac:chgData name="Dion3, Alain (SPAC/PSPC) (il-lui / he-him)" userId="b5972ad0-fee1-4393-9fd4-8bc589782ac7" providerId="ADAL" clId="{3ACCABA1-D66F-4904-8251-B355270E7CFD}" dt="2024-10-28T13:31:14.711" v="112"/>
          <ac:cxnSpMkLst>
            <pc:docMk/>
            <pc:sldMk cId="416905842" sldId="5163"/>
            <ac:cxnSpMk id="32" creationId="{C41D0D38-D37A-C702-1711-C04AE3FE434C}"/>
          </ac:cxnSpMkLst>
        </pc:cxnChg>
        <pc:cxnChg chg="replST">
          <ac:chgData name="Dion3, Alain (SPAC/PSPC) (il-lui / he-him)" userId="b5972ad0-fee1-4393-9fd4-8bc589782ac7" providerId="ADAL" clId="{3ACCABA1-D66F-4904-8251-B355270E7CFD}" dt="2024-10-28T13:31:14.739" v="117"/>
          <ac:cxnSpMkLst>
            <pc:docMk/>
            <pc:sldMk cId="416905842" sldId="5163"/>
            <ac:cxnSpMk id="37" creationId="{28AFBD7B-8DB2-DBD0-C274-7148A919B674}"/>
          </ac:cxnSpMkLst>
        </pc:cxnChg>
        <pc:cxnChg chg="replST">
          <ac:chgData name="Dion3, Alain (SPAC/PSPC) (il-lui / he-him)" userId="b5972ad0-fee1-4393-9fd4-8bc589782ac7" providerId="ADAL" clId="{3ACCABA1-D66F-4904-8251-B355270E7CFD}" dt="2024-10-28T13:31:14.754" v="119"/>
          <ac:cxnSpMkLst>
            <pc:docMk/>
            <pc:sldMk cId="416905842" sldId="5163"/>
            <ac:cxnSpMk id="39" creationId="{E49B0FD2-5582-BF26-495F-0F4CB8A7FDD1}"/>
          </ac:cxnSpMkLst>
        </pc:cxnChg>
        <pc:cxnChg chg="replST">
          <ac:chgData name="Dion3, Alain (SPAC/PSPC) (il-lui / he-him)" userId="b5972ad0-fee1-4393-9fd4-8bc589782ac7" providerId="ADAL" clId="{3ACCABA1-D66F-4904-8251-B355270E7CFD}" dt="2024-10-28T13:31:14.782" v="124"/>
          <ac:cxnSpMkLst>
            <pc:docMk/>
            <pc:sldMk cId="416905842" sldId="5163"/>
            <ac:cxnSpMk id="44" creationId="{BBBCF7AD-D691-FEB7-4DC9-3FDC9ED648A5}"/>
          </ac:cxnSpMkLst>
        </pc:cxnChg>
        <pc:cxnChg chg="replST">
          <ac:chgData name="Dion3, Alain (SPAC/PSPC) (il-lui / he-him)" userId="b5972ad0-fee1-4393-9fd4-8bc589782ac7" providerId="ADAL" clId="{3ACCABA1-D66F-4904-8251-B355270E7CFD}" dt="2024-10-28T13:31:14.799" v="127"/>
          <ac:cxnSpMkLst>
            <pc:docMk/>
            <pc:sldMk cId="416905842" sldId="5163"/>
            <ac:cxnSpMk id="47" creationId="{FDB8C5F9-1293-B0D8-5E61-88BC09F5547E}"/>
          </ac:cxnSpMkLst>
        </pc:cxnChg>
        <pc:cxnChg chg="replST">
          <ac:chgData name="Dion3, Alain (SPAC/PSPC) (il-lui / he-him)" userId="b5972ad0-fee1-4393-9fd4-8bc589782ac7" providerId="ADAL" clId="{3ACCABA1-D66F-4904-8251-B355270E7CFD}" dt="2024-10-28T13:31:14.840" v="133"/>
          <ac:cxnSpMkLst>
            <pc:docMk/>
            <pc:sldMk cId="416905842" sldId="5163"/>
            <ac:cxnSpMk id="53" creationId="{247E69B8-4C2E-D203-B1A6-289EBF09FF47}"/>
          </ac:cxnSpMkLst>
        </pc:cxnChg>
        <pc:cxnChg chg="replST">
          <ac:chgData name="Dion3, Alain (SPAC/PSPC) (il-lui / he-him)" userId="b5972ad0-fee1-4393-9fd4-8bc589782ac7" providerId="ADAL" clId="{3ACCABA1-D66F-4904-8251-B355270E7CFD}" dt="2024-10-28T13:31:14.860" v="136"/>
          <ac:cxnSpMkLst>
            <pc:docMk/>
            <pc:sldMk cId="416905842" sldId="5163"/>
            <ac:cxnSpMk id="56" creationId="{BD62BE99-7E43-F3E2-3AC9-8D1D1B910FE6}"/>
          </ac:cxnSpMkLst>
        </pc:cxnChg>
        <pc:cxnChg chg="replST">
          <ac:chgData name="Dion3, Alain (SPAC/PSPC) (il-lui / he-him)" userId="b5972ad0-fee1-4393-9fd4-8bc589782ac7" providerId="ADAL" clId="{3ACCABA1-D66F-4904-8251-B355270E7CFD}" dt="2024-10-28T13:31:14.866" v="137"/>
          <ac:cxnSpMkLst>
            <pc:docMk/>
            <pc:sldMk cId="416905842" sldId="5163"/>
            <ac:cxnSpMk id="57" creationId="{69D49AD1-DF40-D8F6-3AEA-DCDBB884942B}"/>
          </ac:cxnSpMkLst>
        </pc:cxnChg>
        <pc:cxnChg chg="replST">
          <ac:chgData name="Dion3, Alain (SPAC/PSPC) (il-lui / he-him)" userId="b5972ad0-fee1-4393-9fd4-8bc589782ac7" providerId="ADAL" clId="{3ACCABA1-D66F-4904-8251-B355270E7CFD}" dt="2024-10-28T13:31:14.872" v="138"/>
          <ac:cxnSpMkLst>
            <pc:docMk/>
            <pc:sldMk cId="416905842" sldId="5163"/>
            <ac:cxnSpMk id="58" creationId="{73A11CBD-27CB-DF5A-70FD-69B0EF2C1262}"/>
          </ac:cxnSpMkLst>
        </pc:cxnChg>
      </pc:sldChg>
      <pc:sldChg chg="modSp mod addCm modCm modNotes modNotesTx">
        <pc:chgData name="Dion3, Alain (SPAC/PSPC) (il-lui / he-him)" userId="b5972ad0-fee1-4393-9fd4-8bc589782ac7" providerId="ADAL" clId="{3ACCABA1-D66F-4904-8251-B355270E7CFD}" dt="2024-10-28T14:11:52.940" v="227" actId="20577"/>
        <pc:sldMkLst>
          <pc:docMk/>
          <pc:sldMk cId="2643018674" sldId="5164"/>
        </pc:sldMkLst>
        <pc:spChg chg="mod replST">
          <ac:chgData name="Dion3, Alain (SPAC/PSPC) (il-lui / he-him)" userId="b5972ad0-fee1-4393-9fd4-8bc589782ac7" providerId="ADAL" clId="{3ACCABA1-D66F-4904-8251-B355270E7CFD}" dt="2024-10-28T13:32:15.458" v="152" actId="790"/>
          <ac:spMkLst>
            <pc:docMk/>
            <pc:sldMk cId="2643018674" sldId="5164"/>
            <ac:spMk id="3" creationId="{41BE6B50-88EB-D2A5-67D3-AD36A9027E26}"/>
          </ac:spMkLst>
        </pc:spChg>
        <pc:spChg chg="mod replST">
          <ac:chgData name="Dion3, Alain (SPAC/PSPC) (il-lui / he-him)" userId="b5972ad0-fee1-4393-9fd4-8bc589782ac7" providerId="ADAL" clId="{3ACCABA1-D66F-4904-8251-B355270E7CFD}" dt="2024-10-28T13:38:50.090" v="220" actId="20577"/>
          <ac:spMkLst>
            <pc:docMk/>
            <pc:sldMk cId="2643018674" sldId="5164"/>
            <ac:spMk id="5" creationId="{D0DACE9A-1229-9EEE-A180-51B071D4E977}"/>
          </ac:spMkLst>
        </pc:spChg>
        <pc:spChg chg="mod replST">
          <ac:chgData name="Dion3, Alain (SPAC/PSPC) (il-lui / he-him)" userId="b5972ad0-fee1-4393-9fd4-8bc589782ac7" providerId="ADAL" clId="{3ACCABA1-D66F-4904-8251-B355270E7CFD}" dt="2024-10-28T13:32:15.458" v="152" actId="790"/>
          <ac:spMkLst>
            <pc:docMk/>
            <pc:sldMk cId="2643018674" sldId="5164"/>
            <ac:spMk id="6" creationId="{C37AB966-CDBE-2C55-3F98-CA62BB152F01}"/>
          </ac:spMkLst>
        </pc:spChg>
        <pc:spChg chg="mod replST">
          <ac:chgData name="Dion3, Alain (SPAC/PSPC) (il-lui / he-him)" userId="b5972ad0-fee1-4393-9fd4-8bc589782ac7" providerId="ADAL" clId="{3ACCABA1-D66F-4904-8251-B355270E7CFD}" dt="2024-10-28T13:32:15.458" v="152" actId="790"/>
          <ac:spMkLst>
            <pc:docMk/>
            <pc:sldMk cId="2643018674" sldId="5164"/>
            <ac:spMk id="7" creationId="{C62EB4E4-F735-AD30-5AD4-F4E6B822F95C}"/>
          </ac:spMkLst>
        </pc:spChg>
        <pc:spChg chg="mod replST">
          <ac:chgData name="Dion3, Alain (SPAC/PSPC) (il-lui / he-him)" userId="b5972ad0-fee1-4393-9fd4-8bc589782ac7" providerId="ADAL" clId="{3ACCABA1-D66F-4904-8251-B355270E7CFD}" dt="2024-10-28T13:32:15.458" v="152" actId="790"/>
          <ac:spMkLst>
            <pc:docMk/>
            <pc:sldMk cId="2643018674" sldId="5164"/>
            <ac:spMk id="8" creationId="{44BC3EAC-3980-4F07-943B-6EC20B7A7BDE}"/>
          </ac:spMkLst>
        </pc:spChg>
        <pc:spChg chg="mod replST">
          <ac:chgData name="Dion3, Alain (SPAC/PSPC) (il-lui / he-him)" userId="b5972ad0-fee1-4393-9fd4-8bc589782ac7" providerId="ADAL" clId="{3ACCABA1-D66F-4904-8251-B355270E7CFD}" dt="2024-10-28T13:32:15.458" v="152" actId="790"/>
          <ac:spMkLst>
            <pc:docMk/>
            <pc:sldMk cId="2643018674" sldId="5164"/>
            <ac:spMk id="9" creationId="{AAE94596-646F-19F0-2DAB-4EB93FB2F7D0}"/>
          </ac:spMkLst>
        </pc:spChg>
        <pc:spChg chg="mod replST">
          <ac:chgData name="Dion3, Alain (SPAC/PSPC) (il-lui / he-him)" userId="b5972ad0-fee1-4393-9fd4-8bc589782ac7" providerId="ADAL" clId="{3ACCABA1-D66F-4904-8251-B355270E7CFD}" dt="2024-10-28T13:32:15.458" v="152" actId="790"/>
          <ac:spMkLst>
            <pc:docMk/>
            <pc:sldMk cId="2643018674" sldId="5164"/>
            <ac:spMk id="10" creationId="{DB8B833A-09AE-E2B0-B009-6B66BB533DDE}"/>
          </ac:spMkLst>
        </pc:spChg>
        <pc:spChg chg="mod replST">
          <ac:chgData name="Dion3, Alain (SPAC/PSPC) (il-lui / he-him)" userId="b5972ad0-fee1-4393-9fd4-8bc589782ac7" providerId="ADAL" clId="{3ACCABA1-D66F-4904-8251-B355270E7CFD}" dt="2024-10-28T13:38:53.205" v="223" actId="20577"/>
          <ac:spMkLst>
            <pc:docMk/>
            <pc:sldMk cId="2643018674" sldId="5164"/>
            <ac:spMk id="12" creationId="{6A3B9CD2-AFBF-BEF4-7CE5-AED963949FAC}"/>
          </ac:spMkLst>
        </pc:spChg>
        <pc:spChg chg="mod">
          <ac:chgData name="Dion3, Alain (SPAC/PSPC) (il-lui / he-him)" userId="b5972ad0-fee1-4393-9fd4-8bc589782ac7" providerId="ADAL" clId="{3ACCABA1-D66F-4904-8251-B355270E7CFD}" dt="2024-10-28T13:32:15.458" v="152" actId="790"/>
          <ac:spMkLst>
            <pc:docMk/>
            <pc:sldMk cId="2643018674" sldId="5164"/>
            <ac:spMk id="22" creationId="{D584EBA7-CBDB-A407-2BDD-101FF8371B4B}"/>
          </ac:spMkLst>
        </pc:spChg>
        <pc:spChg chg="mod">
          <ac:chgData name="Dion3, Alain (SPAC/PSPC) (il-lui / he-him)" userId="b5972ad0-fee1-4393-9fd4-8bc589782ac7" providerId="ADAL" clId="{3ACCABA1-D66F-4904-8251-B355270E7CFD}" dt="2024-10-28T13:32:15.458" v="152" actId="790"/>
          <ac:spMkLst>
            <pc:docMk/>
            <pc:sldMk cId="2643018674" sldId="5164"/>
            <ac:spMk id="24" creationId="{55E0100F-188C-1B9D-8084-05834FD5FF64}"/>
          </ac:spMkLst>
        </pc:spChg>
        <pc:spChg chg="mod">
          <ac:chgData name="Dion3, Alain (SPAC/PSPC) (il-lui / he-him)" userId="b5972ad0-fee1-4393-9fd4-8bc589782ac7" providerId="ADAL" clId="{3ACCABA1-D66F-4904-8251-B355270E7CFD}" dt="2024-10-28T13:32:15.458" v="152" actId="790"/>
          <ac:spMkLst>
            <pc:docMk/>
            <pc:sldMk cId="2643018674" sldId="5164"/>
            <ac:spMk id="25" creationId="{7E4519B3-99F1-CC09-4C1F-244341920E23}"/>
          </ac:spMkLst>
        </pc:spChg>
        <pc:spChg chg="mod">
          <ac:chgData name="Dion3, Alain (SPAC/PSPC) (il-lui / he-him)" userId="b5972ad0-fee1-4393-9fd4-8bc589782ac7" providerId="ADAL" clId="{3ACCABA1-D66F-4904-8251-B355270E7CFD}" dt="2024-10-28T13:32:15.458" v="152" actId="790"/>
          <ac:spMkLst>
            <pc:docMk/>
            <pc:sldMk cId="2643018674" sldId="5164"/>
            <ac:spMk id="27" creationId="{65E9AD83-F111-1708-33A6-EE8AFE212572}"/>
          </ac:spMkLst>
        </pc:spChg>
        <pc:spChg chg="mod">
          <ac:chgData name="Dion3, Alain (SPAC/PSPC) (il-lui / he-him)" userId="b5972ad0-fee1-4393-9fd4-8bc589782ac7" providerId="ADAL" clId="{3ACCABA1-D66F-4904-8251-B355270E7CFD}" dt="2024-10-28T13:32:15.458" v="152" actId="790"/>
          <ac:spMkLst>
            <pc:docMk/>
            <pc:sldMk cId="2643018674" sldId="5164"/>
            <ac:spMk id="28" creationId="{CB36570A-847F-6211-9E8D-F1FC8D86F233}"/>
          </ac:spMkLst>
        </pc:spChg>
        <pc:spChg chg="mod">
          <ac:chgData name="Dion3, Alain (SPAC/PSPC) (il-lui / he-him)" userId="b5972ad0-fee1-4393-9fd4-8bc589782ac7" providerId="ADAL" clId="{3ACCABA1-D66F-4904-8251-B355270E7CFD}" dt="2024-10-28T13:32:15.458" v="152" actId="790"/>
          <ac:spMkLst>
            <pc:docMk/>
            <pc:sldMk cId="2643018674" sldId="5164"/>
            <ac:spMk id="29" creationId="{A0E6025E-4C39-C492-A915-0923EEAF50C3}"/>
          </ac:spMkLst>
        </pc:spChg>
        <pc:spChg chg="mod">
          <ac:chgData name="Dion3, Alain (SPAC/PSPC) (il-lui / he-him)" userId="b5972ad0-fee1-4393-9fd4-8bc589782ac7" providerId="ADAL" clId="{3ACCABA1-D66F-4904-8251-B355270E7CFD}" dt="2024-10-28T13:32:15.458" v="152" actId="790"/>
          <ac:spMkLst>
            <pc:docMk/>
            <pc:sldMk cId="2643018674" sldId="5164"/>
            <ac:spMk id="30" creationId="{AAAE6B21-C3F0-6199-D232-26038649B816}"/>
          </ac:spMkLst>
        </pc:spChg>
        <pc:spChg chg="mod">
          <ac:chgData name="Dion3, Alain (SPAC/PSPC) (il-lui / he-him)" userId="b5972ad0-fee1-4393-9fd4-8bc589782ac7" providerId="ADAL" clId="{3ACCABA1-D66F-4904-8251-B355270E7CFD}" dt="2024-10-28T13:32:15.458" v="152" actId="790"/>
          <ac:spMkLst>
            <pc:docMk/>
            <pc:sldMk cId="2643018674" sldId="5164"/>
            <ac:spMk id="31" creationId="{89E509A3-75F3-8F87-9867-A8DE1833F316}"/>
          </ac:spMkLst>
        </pc:spChg>
        <pc:spChg chg="mod">
          <ac:chgData name="Dion3, Alain (SPAC/PSPC) (il-lui / he-him)" userId="b5972ad0-fee1-4393-9fd4-8bc589782ac7" providerId="ADAL" clId="{3ACCABA1-D66F-4904-8251-B355270E7CFD}" dt="2024-10-28T13:32:15.458" v="152" actId="790"/>
          <ac:spMkLst>
            <pc:docMk/>
            <pc:sldMk cId="2643018674" sldId="5164"/>
            <ac:spMk id="32" creationId="{ECF0CEEC-AB10-73F8-FF53-285777A5B406}"/>
          </ac:spMkLst>
        </pc:spChg>
        <pc:spChg chg="mod">
          <ac:chgData name="Dion3, Alain (SPAC/PSPC) (il-lui / he-him)" userId="b5972ad0-fee1-4393-9fd4-8bc589782ac7" providerId="ADAL" clId="{3ACCABA1-D66F-4904-8251-B355270E7CFD}" dt="2024-10-28T13:32:15.458" v="152" actId="790"/>
          <ac:spMkLst>
            <pc:docMk/>
            <pc:sldMk cId="2643018674" sldId="5164"/>
            <ac:spMk id="33" creationId="{0FCF7426-61A4-CE77-0571-2803ED7E58A4}"/>
          </ac:spMkLst>
        </pc:spChg>
        <pc:spChg chg="mod">
          <ac:chgData name="Dion3, Alain (SPAC/PSPC) (il-lui / he-him)" userId="b5972ad0-fee1-4393-9fd4-8bc589782ac7" providerId="ADAL" clId="{3ACCABA1-D66F-4904-8251-B355270E7CFD}" dt="2024-10-28T13:32:15.458" v="152" actId="790"/>
          <ac:spMkLst>
            <pc:docMk/>
            <pc:sldMk cId="2643018674" sldId="5164"/>
            <ac:spMk id="34" creationId="{FA3BA803-3597-2254-D69E-CD3D12F6567E}"/>
          </ac:spMkLst>
        </pc:spChg>
        <pc:spChg chg="mod">
          <ac:chgData name="Dion3, Alain (SPAC/PSPC) (il-lui / he-him)" userId="b5972ad0-fee1-4393-9fd4-8bc589782ac7" providerId="ADAL" clId="{3ACCABA1-D66F-4904-8251-B355270E7CFD}" dt="2024-10-28T13:32:15.458" v="152" actId="790"/>
          <ac:spMkLst>
            <pc:docMk/>
            <pc:sldMk cId="2643018674" sldId="5164"/>
            <ac:spMk id="35" creationId="{93B4F391-5FE1-2DEB-CFAE-4D5EDFFA556E}"/>
          </ac:spMkLst>
        </pc:spChg>
        <pc:spChg chg="mod">
          <ac:chgData name="Dion3, Alain (SPAC/PSPC) (il-lui / he-him)" userId="b5972ad0-fee1-4393-9fd4-8bc589782ac7" providerId="ADAL" clId="{3ACCABA1-D66F-4904-8251-B355270E7CFD}" dt="2024-10-28T13:32:15.458" v="152" actId="790"/>
          <ac:spMkLst>
            <pc:docMk/>
            <pc:sldMk cId="2643018674" sldId="5164"/>
            <ac:spMk id="36" creationId="{59532803-71DA-1110-F913-BCDFFF195AA2}"/>
          </ac:spMkLst>
        </pc:spChg>
        <pc:spChg chg="mod">
          <ac:chgData name="Dion3, Alain (SPAC/PSPC) (il-lui / he-him)" userId="b5972ad0-fee1-4393-9fd4-8bc589782ac7" providerId="ADAL" clId="{3ACCABA1-D66F-4904-8251-B355270E7CFD}" dt="2024-10-28T13:32:15.458" v="152" actId="790"/>
          <ac:spMkLst>
            <pc:docMk/>
            <pc:sldMk cId="2643018674" sldId="5164"/>
            <ac:spMk id="37" creationId="{94A45180-175A-1288-BEF0-14A28278F207}"/>
          </ac:spMkLst>
        </pc:spChg>
        <pc:spChg chg="mod">
          <ac:chgData name="Dion3, Alain (SPAC/PSPC) (il-lui / he-him)" userId="b5972ad0-fee1-4393-9fd4-8bc589782ac7" providerId="ADAL" clId="{3ACCABA1-D66F-4904-8251-B355270E7CFD}" dt="2024-10-28T13:32:15.458" v="152" actId="790"/>
          <ac:spMkLst>
            <pc:docMk/>
            <pc:sldMk cId="2643018674" sldId="5164"/>
            <ac:spMk id="38" creationId="{F54DE717-ED71-3083-7314-4CD9D1EEF68D}"/>
          </ac:spMkLst>
        </pc:spChg>
        <pc:spChg chg="mod">
          <ac:chgData name="Dion3, Alain (SPAC/PSPC) (il-lui / he-him)" userId="b5972ad0-fee1-4393-9fd4-8bc589782ac7" providerId="ADAL" clId="{3ACCABA1-D66F-4904-8251-B355270E7CFD}" dt="2024-10-28T13:32:15.458" v="152" actId="790"/>
          <ac:spMkLst>
            <pc:docMk/>
            <pc:sldMk cId="2643018674" sldId="5164"/>
            <ac:spMk id="39" creationId="{0A9CADB0-5230-F233-24FF-594559B7912B}"/>
          </ac:spMkLst>
        </pc:spChg>
        <pc:spChg chg="mod">
          <ac:chgData name="Dion3, Alain (SPAC/PSPC) (il-lui / he-him)" userId="b5972ad0-fee1-4393-9fd4-8bc589782ac7" providerId="ADAL" clId="{3ACCABA1-D66F-4904-8251-B355270E7CFD}" dt="2024-10-28T13:32:15.458" v="152" actId="790"/>
          <ac:spMkLst>
            <pc:docMk/>
            <pc:sldMk cId="2643018674" sldId="5164"/>
            <ac:spMk id="40" creationId="{1B407058-991F-EA26-99EE-3547CE642656}"/>
          </ac:spMkLst>
        </pc:spChg>
        <pc:spChg chg="mod">
          <ac:chgData name="Dion3, Alain (SPAC/PSPC) (il-lui / he-him)" userId="b5972ad0-fee1-4393-9fd4-8bc589782ac7" providerId="ADAL" clId="{3ACCABA1-D66F-4904-8251-B355270E7CFD}" dt="2024-10-28T13:32:15.458" v="152" actId="790"/>
          <ac:spMkLst>
            <pc:docMk/>
            <pc:sldMk cId="2643018674" sldId="5164"/>
            <ac:spMk id="41" creationId="{E9EE14A2-571E-EE6E-80E4-9E70EE820063}"/>
          </ac:spMkLst>
        </pc:spChg>
        <pc:spChg chg="mod">
          <ac:chgData name="Dion3, Alain (SPAC/PSPC) (il-lui / he-him)" userId="b5972ad0-fee1-4393-9fd4-8bc589782ac7" providerId="ADAL" clId="{3ACCABA1-D66F-4904-8251-B355270E7CFD}" dt="2024-10-28T13:32:15.458" v="152" actId="790"/>
          <ac:spMkLst>
            <pc:docMk/>
            <pc:sldMk cId="2643018674" sldId="5164"/>
            <ac:spMk id="42" creationId="{DA1B0F08-AC42-81A8-48B4-A009F9707157}"/>
          </ac:spMkLst>
        </pc:spChg>
        <pc:spChg chg="mod">
          <ac:chgData name="Dion3, Alain (SPAC/PSPC) (il-lui / he-him)" userId="b5972ad0-fee1-4393-9fd4-8bc589782ac7" providerId="ADAL" clId="{3ACCABA1-D66F-4904-8251-B355270E7CFD}" dt="2024-10-28T13:32:15.458" v="152" actId="790"/>
          <ac:spMkLst>
            <pc:docMk/>
            <pc:sldMk cId="2643018674" sldId="5164"/>
            <ac:spMk id="43" creationId="{06E350D4-531C-9E88-E71B-AD07ED026359}"/>
          </ac:spMkLst>
        </pc:spChg>
        <pc:spChg chg="mod">
          <ac:chgData name="Dion3, Alain (SPAC/PSPC) (il-lui / he-him)" userId="b5972ad0-fee1-4393-9fd4-8bc589782ac7" providerId="ADAL" clId="{3ACCABA1-D66F-4904-8251-B355270E7CFD}" dt="2024-10-28T13:32:15.458" v="152" actId="790"/>
          <ac:spMkLst>
            <pc:docMk/>
            <pc:sldMk cId="2643018674" sldId="5164"/>
            <ac:spMk id="44" creationId="{E1A37DB1-37E6-480D-F6A3-4B4B43F9EED5}"/>
          </ac:spMkLst>
        </pc:spChg>
        <pc:spChg chg="mod">
          <ac:chgData name="Dion3, Alain (SPAC/PSPC) (il-lui / he-him)" userId="b5972ad0-fee1-4393-9fd4-8bc589782ac7" providerId="ADAL" clId="{3ACCABA1-D66F-4904-8251-B355270E7CFD}" dt="2024-10-28T13:32:15.458" v="152" actId="790"/>
          <ac:spMkLst>
            <pc:docMk/>
            <pc:sldMk cId="2643018674" sldId="5164"/>
            <ac:spMk id="45" creationId="{4B8B2B05-931F-4821-C654-43809A0C6398}"/>
          </ac:spMkLst>
        </pc:spChg>
        <pc:spChg chg="mod">
          <ac:chgData name="Dion3, Alain (SPAC/PSPC) (il-lui / he-him)" userId="b5972ad0-fee1-4393-9fd4-8bc589782ac7" providerId="ADAL" clId="{3ACCABA1-D66F-4904-8251-B355270E7CFD}" dt="2024-10-28T13:32:15.458" v="152" actId="790"/>
          <ac:spMkLst>
            <pc:docMk/>
            <pc:sldMk cId="2643018674" sldId="5164"/>
            <ac:spMk id="46" creationId="{E05CDB04-758F-A16E-0C7C-81482A944D84}"/>
          </ac:spMkLst>
        </pc:spChg>
        <pc:spChg chg="mod">
          <ac:chgData name="Dion3, Alain (SPAC/PSPC) (il-lui / he-him)" userId="b5972ad0-fee1-4393-9fd4-8bc589782ac7" providerId="ADAL" clId="{3ACCABA1-D66F-4904-8251-B355270E7CFD}" dt="2024-10-28T13:32:15.458" v="152" actId="790"/>
          <ac:spMkLst>
            <pc:docMk/>
            <pc:sldMk cId="2643018674" sldId="5164"/>
            <ac:spMk id="47" creationId="{41D15CB2-0185-C50E-B34A-7DC9BAFEC86E}"/>
          </ac:spMkLst>
        </pc:spChg>
        <pc:spChg chg="mod">
          <ac:chgData name="Dion3, Alain (SPAC/PSPC) (il-lui / he-him)" userId="b5972ad0-fee1-4393-9fd4-8bc589782ac7" providerId="ADAL" clId="{3ACCABA1-D66F-4904-8251-B355270E7CFD}" dt="2024-10-28T13:32:15.458" v="152" actId="790"/>
          <ac:spMkLst>
            <pc:docMk/>
            <pc:sldMk cId="2643018674" sldId="5164"/>
            <ac:spMk id="48" creationId="{75E7B4C9-F60F-E60D-1203-37883966A6FD}"/>
          </ac:spMkLst>
        </pc:spChg>
        <pc:spChg chg="mod">
          <ac:chgData name="Dion3, Alain (SPAC/PSPC) (il-lui / he-him)" userId="b5972ad0-fee1-4393-9fd4-8bc589782ac7" providerId="ADAL" clId="{3ACCABA1-D66F-4904-8251-B355270E7CFD}" dt="2024-10-28T13:32:15.458" v="152" actId="790"/>
          <ac:spMkLst>
            <pc:docMk/>
            <pc:sldMk cId="2643018674" sldId="5164"/>
            <ac:spMk id="49" creationId="{467CA39C-152F-D143-16E6-F0AEBF1F0EF6}"/>
          </ac:spMkLst>
        </pc:spChg>
        <pc:spChg chg="mod">
          <ac:chgData name="Dion3, Alain (SPAC/PSPC) (il-lui / he-him)" userId="b5972ad0-fee1-4393-9fd4-8bc589782ac7" providerId="ADAL" clId="{3ACCABA1-D66F-4904-8251-B355270E7CFD}" dt="2024-10-28T13:32:15.458" v="152" actId="790"/>
          <ac:spMkLst>
            <pc:docMk/>
            <pc:sldMk cId="2643018674" sldId="5164"/>
            <ac:spMk id="50" creationId="{169AFF5D-67CE-AA9F-C71D-910F3D59E065}"/>
          </ac:spMkLst>
        </pc:spChg>
        <pc:spChg chg="mod">
          <ac:chgData name="Dion3, Alain (SPAC/PSPC) (il-lui / he-him)" userId="b5972ad0-fee1-4393-9fd4-8bc589782ac7" providerId="ADAL" clId="{3ACCABA1-D66F-4904-8251-B355270E7CFD}" dt="2024-10-28T13:32:15.458" v="152" actId="790"/>
          <ac:spMkLst>
            <pc:docMk/>
            <pc:sldMk cId="2643018674" sldId="5164"/>
            <ac:spMk id="51" creationId="{17644F83-71B6-9560-AF3E-09A8872C809B}"/>
          </ac:spMkLst>
        </pc:spChg>
        <pc:spChg chg="mod">
          <ac:chgData name="Dion3, Alain (SPAC/PSPC) (il-lui / he-him)" userId="b5972ad0-fee1-4393-9fd4-8bc589782ac7" providerId="ADAL" clId="{3ACCABA1-D66F-4904-8251-B355270E7CFD}" dt="2024-10-28T13:32:15.458" v="152" actId="790"/>
          <ac:spMkLst>
            <pc:docMk/>
            <pc:sldMk cId="2643018674" sldId="5164"/>
            <ac:spMk id="52" creationId="{D9375901-672F-F732-57F8-D153D824344D}"/>
          </ac:spMkLst>
        </pc:spChg>
        <pc:spChg chg="mod">
          <ac:chgData name="Dion3, Alain (SPAC/PSPC) (il-lui / he-him)" userId="b5972ad0-fee1-4393-9fd4-8bc589782ac7" providerId="ADAL" clId="{3ACCABA1-D66F-4904-8251-B355270E7CFD}" dt="2024-10-28T13:32:15.458" v="152" actId="790"/>
          <ac:spMkLst>
            <pc:docMk/>
            <pc:sldMk cId="2643018674" sldId="5164"/>
            <ac:spMk id="53" creationId="{B9F6722B-6928-3A6A-BBB8-231A8B9E3259}"/>
          </ac:spMkLst>
        </pc:spChg>
        <pc:spChg chg="mod">
          <ac:chgData name="Dion3, Alain (SPAC/PSPC) (il-lui / he-him)" userId="b5972ad0-fee1-4393-9fd4-8bc589782ac7" providerId="ADAL" clId="{3ACCABA1-D66F-4904-8251-B355270E7CFD}" dt="2024-10-28T13:32:15.458" v="152" actId="790"/>
          <ac:spMkLst>
            <pc:docMk/>
            <pc:sldMk cId="2643018674" sldId="5164"/>
            <ac:spMk id="54" creationId="{15F08EEC-C863-3F61-556F-64BE7ED31590}"/>
          </ac:spMkLst>
        </pc:spChg>
        <pc:spChg chg="mod">
          <ac:chgData name="Dion3, Alain (SPAC/PSPC) (il-lui / he-him)" userId="b5972ad0-fee1-4393-9fd4-8bc589782ac7" providerId="ADAL" clId="{3ACCABA1-D66F-4904-8251-B355270E7CFD}" dt="2024-10-28T13:32:15.458" v="152" actId="790"/>
          <ac:spMkLst>
            <pc:docMk/>
            <pc:sldMk cId="2643018674" sldId="5164"/>
            <ac:spMk id="55" creationId="{731C5ADA-D8AA-6942-B963-257CD97AA0F9}"/>
          </ac:spMkLst>
        </pc:spChg>
        <pc:spChg chg="mod">
          <ac:chgData name="Dion3, Alain (SPAC/PSPC) (il-lui / he-him)" userId="b5972ad0-fee1-4393-9fd4-8bc589782ac7" providerId="ADAL" clId="{3ACCABA1-D66F-4904-8251-B355270E7CFD}" dt="2024-10-28T13:32:15.458" v="152" actId="790"/>
          <ac:spMkLst>
            <pc:docMk/>
            <pc:sldMk cId="2643018674" sldId="5164"/>
            <ac:spMk id="56" creationId="{6C95EF8D-478B-B864-D6F8-128D10DBE16A}"/>
          </ac:spMkLst>
        </pc:spChg>
        <pc:spChg chg="mod">
          <ac:chgData name="Dion3, Alain (SPAC/PSPC) (il-lui / he-him)" userId="b5972ad0-fee1-4393-9fd4-8bc589782ac7" providerId="ADAL" clId="{3ACCABA1-D66F-4904-8251-B355270E7CFD}" dt="2024-10-28T13:32:15.458" v="152" actId="790"/>
          <ac:spMkLst>
            <pc:docMk/>
            <pc:sldMk cId="2643018674" sldId="5164"/>
            <ac:spMk id="57" creationId="{816207AB-4332-E282-4740-48B60179E40B}"/>
          </ac:spMkLst>
        </pc:spChg>
        <pc:spChg chg="mod">
          <ac:chgData name="Dion3, Alain (SPAC/PSPC) (il-lui / he-him)" userId="b5972ad0-fee1-4393-9fd4-8bc589782ac7" providerId="ADAL" clId="{3ACCABA1-D66F-4904-8251-B355270E7CFD}" dt="2024-10-28T13:32:15.458" v="152" actId="790"/>
          <ac:spMkLst>
            <pc:docMk/>
            <pc:sldMk cId="2643018674" sldId="5164"/>
            <ac:spMk id="58" creationId="{DCF93223-AC8F-F71A-B2CD-96C59C41CF86}"/>
          </ac:spMkLst>
        </pc:spChg>
        <pc:spChg chg="mod">
          <ac:chgData name="Dion3, Alain (SPAC/PSPC) (il-lui / he-him)" userId="b5972ad0-fee1-4393-9fd4-8bc589782ac7" providerId="ADAL" clId="{3ACCABA1-D66F-4904-8251-B355270E7CFD}" dt="2024-10-28T13:32:15.458" v="152" actId="790"/>
          <ac:spMkLst>
            <pc:docMk/>
            <pc:sldMk cId="2643018674" sldId="5164"/>
            <ac:spMk id="59" creationId="{EA713421-7FA7-25D0-032C-C974F1F3841F}"/>
          </ac:spMkLst>
        </pc:spChg>
        <pc:spChg chg="mod">
          <ac:chgData name="Dion3, Alain (SPAC/PSPC) (il-lui / he-him)" userId="b5972ad0-fee1-4393-9fd4-8bc589782ac7" providerId="ADAL" clId="{3ACCABA1-D66F-4904-8251-B355270E7CFD}" dt="2024-10-28T13:32:15.458" v="152" actId="790"/>
          <ac:spMkLst>
            <pc:docMk/>
            <pc:sldMk cId="2643018674" sldId="5164"/>
            <ac:spMk id="60" creationId="{8A37BC0E-C32F-FF48-941E-D60AD0227F5D}"/>
          </ac:spMkLst>
        </pc:spChg>
        <pc:spChg chg="mod">
          <ac:chgData name="Dion3, Alain (SPAC/PSPC) (il-lui / he-him)" userId="b5972ad0-fee1-4393-9fd4-8bc589782ac7" providerId="ADAL" clId="{3ACCABA1-D66F-4904-8251-B355270E7CFD}" dt="2024-10-28T13:32:15.458" v="152" actId="790"/>
          <ac:spMkLst>
            <pc:docMk/>
            <pc:sldMk cId="2643018674" sldId="5164"/>
            <ac:spMk id="61" creationId="{3CC2548D-A9D4-809D-5138-69D680046072}"/>
          </ac:spMkLst>
        </pc:spChg>
        <pc:spChg chg="mod">
          <ac:chgData name="Dion3, Alain (SPAC/PSPC) (il-lui / he-him)" userId="b5972ad0-fee1-4393-9fd4-8bc589782ac7" providerId="ADAL" clId="{3ACCABA1-D66F-4904-8251-B355270E7CFD}" dt="2024-10-28T13:32:15.458" v="152" actId="790"/>
          <ac:spMkLst>
            <pc:docMk/>
            <pc:sldMk cId="2643018674" sldId="5164"/>
            <ac:spMk id="62" creationId="{308C2919-034B-E990-F46C-54F7529BB2C5}"/>
          </ac:spMkLst>
        </pc:spChg>
        <pc:spChg chg="mod">
          <ac:chgData name="Dion3, Alain (SPAC/PSPC) (il-lui / he-him)" userId="b5972ad0-fee1-4393-9fd4-8bc589782ac7" providerId="ADAL" clId="{3ACCABA1-D66F-4904-8251-B355270E7CFD}" dt="2024-10-28T13:32:15.458" v="152" actId="790"/>
          <ac:spMkLst>
            <pc:docMk/>
            <pc:sldMk cId="2643018674" sldId="5164"/>
            <ac:spMk id="63" creationId="{DA5F4491-E61A-07F2-0208-60274B9E6707}"/>
          </ac:spMkLst>
        </pc:spChg>
        <pc:spChg chg="mod">
          <ac:chgData name="Dion3, Alain (SPAC/PSPC) (il-lui / he-him)" userId="b5972ad0-fee1-4393-9fd4-8bc589782ac7" providerId="ADAL" clId="{3ACCABA1-D66F-4904-8251-B355270E7CFD}" dt="2024-10-28T13:32:15.458" v="152" actId="790"/>
          <ac:spMkLst>
            <pc:docMk/>
            <pc:sldMk cId="2643018674" sldId="5164"/>
            <ac:spMk id="64" creationId="{07095B1B-CF08-8CAF-A324-30985537A043}"/>
          </ac:spMkLst>
        </pc:spChg>
        <pc:spChg chg="mod">
          <ac:chgData name="Dion3, Alain (SPAC/PSPC) (il-lui / he-him)" userId="b5972ad0-fee1-4393-9fd4-8bc589782ac7" providerId="ADAL" clId="{3ACCABA1-D66F-4904-8251-B355270E7CFD}" dt="2024-10-28T13:32:15.458" v="152" actId="790"/>
          <ac:spMkLst>
            <pc:docMk/>
            <pc:sldMk cId="2643018674" sldId="5164"/>
            <ac:spMk id="65" creationId="{63DCCFF5-A839-38FB-1D37-132A92D472C1}"/>
          </ac:spMkLst>
        </pc:spChg>
        <pc:spChg chg="mod">
          <ac:chgData name="Dion3, Alain (SPAC/PSPC) (il-lui / he-him)" userId="b5972ad0-fee1-4393-9fd4-8bc589782ac7" providerId="ADAL" clId="{3ACCABA1-D66F-4904-8251-B355270E7CFD}" dt="2024-10-28T13:32:15.458" v="152" actId="790"/>
          <ac:spMkLst>
            <pc:docMk/>
            <pc:sldMk cId="2643018674" sldId="5164"/>
            <ac:spMk id="66" creationId="{244FED0A-5548-C9BD-83C4-8A71A61A4405}"/>
          </ac:spMkLst>
        </pc:spChg>
        <pc:spChg chg="mod">
          <ac:chgData name="Dion3, Alain (SPAC/PSPC) (il-lui / he-him)" userId="b5972ad0-fee1-4393-9fd4-8bc589782ac7" providerId="ADAL" clId="{3ACCABA1-D66F-4904-8251-B355270E7CFD}" dt="2024-10-28T13:32:15.458" v="152" actId="790"/>
          <ac:spMkLst>
            <pc:docMk/>
            <pc:sldMk cId="2643018674" sldId="5164"/>
            <ac:spMk id="67" creationId="{B1258444-2B11-A1B0-2A18-A67A25E28034}"/>
          </ac:spMkLst>
        </pc:spChg>
        <pc:spChg chg="mod">
          <ac:chgData name="Dion3, Alain (SPAC/PSPC) (il-lui / he-him)" userId="b5972ad0-fee1-4393-9fd4-8bc589782ac7" providerId="ADAL" clId="{3ACCABA1-D66F-4904-8251-B355270E7CFD}" dt="2024-10-28T13:32:15.458" v="152" actId="790"/>
          <ac:spMkLst>
            <pc:docMk/>
            <pc:sldMk cId="2643018674" sldId="5164"/>
            <ac:spMk id="68" creationId="{AF06FDE0-3596-1A96-94A8-B82FAFB78ACC}"/>
          </ac:spMkLst>
        </pc:spChg>
        <pc:spChg chg="mod">
          <ac:chgData name="Dion3, Alain (SPAC/PSPC) (il-lui / he-him)" userId="b5972ad0-fee1-4393-9fd4-8bc589782ac7" providerId="ADAL" clId="{3ACCABA1-D66F-4904-8251-B355270E7CFD}" dt="2024-10-28T13:32:15.458" v="152" actId="790"/>
          <ac:spMkLst>
            <pc:docMk/>
            <pc:sldMk cId="2643018674" sldId="5164"/>
            <ac:spMk id="69" creationId="{F4A13062-53F2-6F84-B496-2634DB2E87AF}"/>
          </ac:spMkLst>
        </pc:spChg>
        <pc:spChg chg="mod replST">
          <ac:chgData name="Dion3, Alain (SPAC/PSPC) (il-lui / he-him)" userId="b5972ad0-fee1-4393-9fd4-8bc589782ac7" providerId="ADAL" clId="{3ACCABA1-D66F-4904-8251-B355270E7CFD}" dt="2024-10-28T13:32:15.458" v="152" actId="790"/>
          <ac:spMkLst>
            <pc:docMk/>
            <pc:sldMk cId="2643018674" sldId="5164"/>
            <ac:spMk id="70" creationId="{48FE0CE4-8128-A030-4177-E94AA3CC9B94}"/>
          </ac:spMkLst>
        </pc:spChg>
        <pc:spChg chg="mod replST">
          <ac:chgData name="Dion3, Alain (SPAC/PSPC) (il-lui / he-him)" userId="b5972ad0-fee1-4393-9fd4-8bc589782ac7" providerId="ADAL" clId="{3ACCABA1-D66F-4904-8251-B355270E7CFD}" dt="2024-10-28T13:32:15.458" v="152" actId="790"/>
          <ac:spMkLst>
            <pc:docMk/>
            <pc:sldMk cId="2643018674" sldId="5164"/>
            <ac:spMk id="71" creationId="{7028C89E-7266-12B8-5E10-8C399FCFA7CF}"/>
          </ac:spMkLst>
        </pc:spChg>
        <pc:grpChg chg="replST">
          <ac:chgData name="Dion3, Alain (SPAC/PSPC) (il-lui / he-him)" userId="b5972ad0-fee1-4393-9fd4-8bc589782ac7" providerId="ADAL" clId="{3ACCABA1-D66F-4904-8251-B355270E7CFD}" dt="2024-10-28T13:31:14.170" v="28"/>
          <ac:grpSpMkLst>
            <pc:docMk/>
            <pc:sldMk cId="2643018674" sldId="5164"/>
            <ac:grpSpMk id="15" creationId="{8DA5BD1B-687F-A8E9-DD81-60E314CBA84F}"/>
          </ac:grpSpMkLst>
        </pc:grpChg>
        <pc:picChg chg="replST">
          <ac:chgData name="Dion3, Alain (SPAC/PSPC) (il-lui / he-him)" userId="b5972ad0-fee1-4393-9fd4-8bc589782ac7" providerId="ADAL" clId="{3ACCABA1-D66F-4904-8251-B355270E7CFD}" dt="2024-10-28T13:31:14.127" v="21"/>
          <ac:picMkLst>
            <pc:docMk/>
            <pc:sldMk cId="2643018674" sldId="5164"/>
            <ac:picMk id="2" creationId="{0E9612D6-45F7-B170-9554-337FDA335619}"/>
          </ac:picMkLst>
        </pc:picChg>
        <pc:extLst>
          <p:ext xmlns:p="http://schemas.openxmlformats.org/presentationml/2006/main" uri="{D6D511B9-2390-475A-947B-AFAB55BFBCF1}">
            <pc226:cmChg xmlns:pc226="http://schemas.microsoft.com/office/powerpoint/2022/06/main/command" chg="mod">
              <pc226:chgData name="Dion3, Alain (SPAC/PSPC) (il-lui / he-him)" userId="b5972ad0-fee1-4393-9fd4-8bc589782ac7" providerId="ADAL" clId="{3ACCABA1-D66F-4904-8251-B355270E7CFD}" dt="2024-10-28T13:38:53.205" v="223" actId="20577"/>
              <pc2:cmMkLst xmlns:pc2="http://schemas.microsoft.com/office/powerpoint/2019/9/main/command">
                <pc:docMk/>
                <pc:sldMk cId="2643018674" sldId="5164"/>
                <pc2:cmMk id="{7F132811-33D1-4F42-BA40-C42C7B67BD9D}"/>
              </pc2:cmMkLst>
            </pc226:cmChg>
            <pc226:cmChg xmlns:pc226="http://schemas.microsoft.com/office/powerpoint/2022/06/main/command" chg="add">
              <pc226:chgData name="Dion3, Alain (SPAC/PSPC) (il-lui / he-him)" userId="b5972ad0-fee1-4393-9fd4-8bc589782ac7" providerId="ADAL" clId="{3ACCABA1-D66F-4904-8251-B355270E7CFD}" dt="2024-10-28T14:11:40.919" v="224"/>
              <pc2:cmMkLst xmlns:pc2="http://schemas.microsoft.com/office/powerpoint/2019/9/main/command">
                <pc:docMk/>
                <pc:sldMk cId="2643018674" sldId="5164"/>
                <pc2:cmMk id="{9E510EFD-2298-4A0C-A76D-26C5E8A92981}"/>
              </pc2:cmMkLst>
            </pc226:cmChg>
          </p:ext>
        </pc:extLst>
      </pc:sldChg>
      <pc:sldChg chg="modSp mod">
        <pc:chgData name="Dion3, Alain (SPAC/PSPC) (il-lui / he-him)" userId="b5972ad0-fee1-4393-9fd4-8bc589782ac7" providerId="ADAL" clId="{3ACCABA1-D66F-4904-8251-B355270E7CFD}" dt="2024-10-28T14:12:58.783" v="230" actId="20577"/>
        <pc:sldMkLst>
          <pc:docMk/>
          <pc:sldMk cId="951449358" sldId="5166"/>
        </pc:sldMkLst>
        <pc:spChg chg="replST">
          <ac:chgData name="Dion3, Alain (SPAC/PSPC) (il-lui / he-him)" userId="b5972ad0-fee1-4393-9fd4-8bc589782ac7" providerId="ADAL" clId="{3ACCABA1-D66F-4904-8251-B355270E7CFD}" dt="2024-10-28T13:31:14.187" v="31"/>
          <ac:spMkLst>
            <pc:docMk/>
            <pc:sldMk cId="951449358" sldId="5166"/>
            <ac:spMk id="3" creationId="{41BE6B50-88EB-D2A5-67D3-AD36A9027E26}"/>
          </ac:spMkLst>
        </pc:spChg>
        <pc:spChg chg="replST">
          <ac:chgData name="Dion3, Alain (SPAC/PSPC) (il-lui / he-him)" userId="b5972ad0-fee1-4393-9fd4-8bc589782ac7" providerId="ADAL" clId="{3ACCABA1-D66F-4904-8251-B355270E7CFD}" dt="2024-10-28T13:31:14.204" v="34"/>
          <ac:spMkLst>
            <pc:docMk/>
            <pc:sldMk cId="951449358" sldId="5166"/>
            <ac:spMk id="12" creationId="{B5E05B46-CF1C-10E8-CF27-43FD5B4CD2B6}"/>
          </ac:spMkLst>
        </pc:spChg>
        <pc:spChg chg="replST">
          <ac:chgData name="Dion3, Alain (SPAC/PSPC) (il-lui / he-him)" userId="b5972ad0-fee1-4393-9fd4-8bc589782ac7" providerId="ADAL" clId="{3ACCABA1-D66F-4904-8251-B355270E7CFD}" dt="2024-10-28T13:31:14.210" v="35"/>
          <ac:spMkLst>
            <pc:docMk/>
            <pc:sldMk cId="951449358" sldId="5166"/>
            <ac:spMk id="13" creationId="{24D3B48C-3E45-5072-0313-084DCF56D01C}"/>
          </ac:spMkLst>
        </pc:spChg>
        <pc:spChg chg="replST">
          <ac:chgData name="Dion3, Alain (SPAC/PSPC) (il-lui / he-him)" userId="b5972ad0-fee1-4393-9fd4-8bc589782ac7" providerId="ADAL" clId="{3ACCABA1-D66F-4904-8251-B355270E7CFD}" dt="2024-10-28T13:31:14.217" v="36"/>
          <ac:spMkLst>
            <pc:docMk/>
            <pc:sldMk cId="951449358" sldId="5166"/>
            <ac:spMk id="14" creationId="{D8AE10C8-3898-213E-7C33-47F8EE2CB0CA}"/>
          </ac:spMkLst>
        </pc:spChg>
        <pc:spChg chg="replST">
          <ac:chgData name="Dion3, Alain (SPAC/PSPC) (il-lui / he-him)" userId="b5972ad0-fee1-4393-9fd4-8bc589782ac7" providerId="ADAL" clId="{3ACCABA1-D66F-4904-8251-B355270E7CFD}" dt="2024-10-28T13:31:14.224" v="37"/>
          <ac:spMkLst>
            <pc:docMk/>
            <pc:sldMk cId="951449358" sldId="5166"/>
            <ac:spMk id="15" creationId="{250D293B-CD7C-D21D-0290-87DD62438189}"/>
          </ac:spMkLst>
        </pc:spChg>
        <pc:spChg chg="replST">
          <ac:chgData name="Dion3, Alain (SPAC/PSPC) (il-lui / he-him)" userId="b5972ad0-fee1-4393-9fd4-8bc589782ac7" providerId="ADAL" clId="{3ACCABA1-D66F-4904-8251-B355270E7CFD}" dt="2024-10-28T13:31:14.230" v="38"/>
          <ac:spMkLst>
            <pc:docMk/>
            <pc:sldMk cId="951449358" sldId="5166"/>
            <ac:spMk id="16" creationId="{491B984F-4AFE-70B5-52DF-3AC5E21CC468}"/>
          </ac:spMkLst>
        </pc:spChg>
        <pc:spChg chg="replST">
          <ac:chgData name="Dion3, Alain (SPAC/PSPC) (il-lui / he-him)" userId="b5972ad0-fee1-4393-9fd4-8bc589782ac7" providerId="ADAL" clId="{3ACCABA1-D66F-4904-8251-B355270E7CFD}" dt="2024-10-28T13:31:14.248" v="41"/>
          <ac:spMkLst>
            <pc:docMk/>
            <pc:sldMk cId="951449358" sldId="5166"/>
            <ac:spMk id="19" creationId="{F04B82CF-8286-8190-4CBE-7BDA4BB27B00}"/>
          </ac:spMkLst>
        </pc:spChg>
        <pc:spChg chg="replST">
          <ac:chgData name="Dion3, Alain (SPAC/PSPC) (il-lui / he-him)" userId="b5972ad0-fee1-4393-9fd4-8bc589782ac7" providerId="ADAL" clId="{3ACCABA1-D66F-4904-8251-B355270E7CFD}" dt="2024-10-28T13:31:14.260" v="43"/>
          <ac:spMkLst>
            <pc:docMk/>
            <pc:sldMk cId="951449358" sldId="5166"/>
            <ac:spMk id="26" creationId="{3EB05C5D-2B3E-2DE3-4C8F-BD63A7AFA07B}"/>
          </ac:spMkLst>
        </pc:spChg>
        <pc:spChg chg="replST">
          <ac:chgData name="Dion3, Alain (SPAC/PSPC) (il-lui / he-him)" userId="b5972ad0-fee1-4393-9fd4-8bc589782ac7" providerId="ADAL" clId="{3ACCABA1-D66F-4904-8251-B355270E7CFD}" dt="2024-10-28T13:31:14.266" v="44"/>
          <ac:spMkLst>
            <pc:docMk/>
            <pc:sldMk cId="951449358" sldId="5166"/>
            <ac:spMk id="27" creationId="{57DEDA11-4574-71ED-2E61-C7774C243B21}"/>
          </ac:spMkLst>
        </pc:spChg>
        <pc:spChg chg="mod replST">
          <ac:chgData name="Dion3, Alain (SPAC/PSPC) (il-lui / he-him)" userId="b5972ad0-fee1-4393-9fd4-8bc589782ac7" providerId="ADAL" clId="{3ACCABA1-D66F-4904-8251-B355270E7CFD}" dt="2024-10-28T14:12:58.783" v="230" actId="20577"/>
          <ac:spMkLst>
            <pc:docMk/>
            <pc:sldMk cId="951449358" sldId="5166"/>
            <ac:spMk id="28" creationId="{59447730-6FE7-EC4E-D82B-4CDD47E25598}"/>
          </ac:spMkLst>
        </pc:spChg>
        <pc:spChg chg="replST">
          <ac:chgData name="Dion3, Alain (SPAC/PSPC) (il-lui / he-him)" userId="b5972ad0-fee1-4393-9fd4-8bc589782ac7" providerId="ADAL" clId="{3ACCABA1-D66F-4904-8251-B355270E7CFD}" dt="2024-10-28T13:31:14.278" v="46"/>
          <ac:spMkLst>
            <pc:docMk/>
            <pc:sldMk cId="951449358" sldId="5166"/>
            <ac:spMk id="29" creationId="{553F35BF-1795-942C-7210-1F70701F738A}"/>
          </ac:spMkLst>
        </pc:spChg>
        <pc:spChg chg="replST">
          <ac:chgData name="Dion3, Alain (SPAC/PSPC) (il-lui / he-him)" userId="b5972ad0-fee1-4393-9fd4-8bc589782ac7" providerId="ADAL" clId="{3ACCABA1-D66F-4904-8251-B355270E7CFD}" dt="2024-10-28T13:31:14.284" v="47"/>
          <ac:spMkLst>
            <pc:docMk/>
            <pc:sldMk cId="951449358" sldId="5166"/>
            <ac:spMk id="30" creationId="{CF803FF0-F5AD-09EE-E848-7158D9ECA15B}"/>
          </ac:spMkLst>
        </pc:spChg>
        <pc:spChg chg="replST">
          <ac:chgData name="Dion3, Alain (SPAC/PSPC) (il-lui / he-him)" userId="b5972ad0-fee1-4393-9fd4-8bc589782ac7" providerId="ADAL" clId="{3ACCABA1-D66F-4904-8251-B355270E7CFD}" dt="2024-10-28T13:31:14.325" v="51"/>
          <ac:spMkLst>
            <pc:docMk/>
            <pc:sldMk cId="951449358" sldId="5166"/>
            <ac:spMk id="37" creationId="{04E6FCF7-DB94-8921-A44C-934B7E940C36}"/>
          </ac:spMkLst>
        </pc:spChg>
        <pc:spChg chg="replST">
          <ac:chgData name="Dion3, Alain (SPAC/PSPC) (il-lui / he-him)" userId="b5972ad0-fee1-4393-9fd4-8bc589782ac7" providerId="ADAL" clId="{3ACCABA1-D66F-4904-8251-B355270E7CFD}" dt="2024-10-28T13:31:14.182" v="30"/>
          <ac:spMkLst>
            <pc:docMk/>
            <pc:sldMk cId="951449358" sldId="5166"/>
            <ac:spMk id="38" creationId="{E109C5DE-2F60-F210-2203-131E1C4A07EF}"/>
          </ac:spMkLst>
        </pc:spChg>
        <pc:grpChg chg="replST">
          <ac:chgData name="Dion3, Alain (SPAC/PSPC) (il-lui / he-him)" userId="b5972ad0-fee1-4393-9fd4-8bc589782ac7" providerId="ADAL" clId="{3ACCABA1-D66F-4904-8251-B355270E7CFD}" dt="2024-10-28T13:31:14.198" v="33"/>
          <ac:grpSpMkLst>
            <pc:docMk/>
            <pc:sldMk cId="951449358" sldId="5166"/>
            <ac:grpSpMk id="6" creationId="{836673FF-D0BB-C36D-C2D5-F3A93BF20D2F}"/>
          </ac:grpSpMkLst>
        </pc:grpChg>
        <pc:grpChg chg="replST">
          <ac:chgData name="Dion3, Alain (SPAC/PSPC) (il-lui / he-him)" userId="b5972ad0-fee1-4393-9fd4-8bc589782ac7" providerId="ADAL" clId="{3ACCABA1-D66F-4904-8251-B355270E7CFD}" dt="2024-10-28T13:31:14.254" v="42"/>
          <ac:grpSpMkLst>
            <pc:docMk/>
            <pc:sldMk cId="951449358" sldId="5166"/>
            <ac:grpSpMk id="20" creationId="{DCF7A223-1B46-DCE0-C185-178B672ADE30}"/>
          </ac:grpSpMkLst>
        </pc:grpChg>
        <pc:grpChg chg="replST">
          <ac:chgData name="Dion3, Alain (SPAC/PSPC) (il-lui / he-him)" userId="b5972ad0-fee1-4393-9fd4-8bc589782ac7" providerId="ADAL" clId="{3ACCABA1-D66F-4904-8251-B355270E7CFD}" dt="2024-10-28T13:31:14.317" v="50"/>
          <ac:grpSpMkLst>
            <pc:docMk/>
            <pc:sldMk cId="951449358" sldId="5166"/>
            <ac:grpSpMk id="33" creationId="{769F25D5-0ACE-A2D5-150F-32E72CA3FC17}"/>
          </ac:grpSpMkLst>
        </pc:grpChg>
        <pc:picChg chg="replST">
          <ac:chgData name="Dion3, Alain (SPAC/PSPC) (il-lui / he-him)" userId="b5972ad0-fee1-4393-9fd4-8bc589782ac7" providerId="ADAL" clId="{3ACCABA1-D66F-4904-8251-B355270E7CFD}" dt="2024-10-28T13:31:14.192" v="32"/>
          <ac:picMkLst>
            <pc:docMk/>
            <pc:sldMk cId="951449358" sldId="5166"/>
            <ac:picMk id="2" creationId="{0E9612D6-45F7-B170-9554-337FDA335619}"/>
          </ac:picMkLst>
        </pc:picChg>
        <pc:picChg chg="replST">
          <ac:chgData name="Dion3, Alain (SPAC/PSPC) (il-lui / he-him)" userId="b5972ad0-fee1-4393-9fd4-8bc589782ac7" providerId="ADAL" clId="{3ACCABA1-D66F-4904-8251-B355270E7CFD}" dt="2024-10-28T13:31:14.236" v="39"/>
          <ac:picMkLst>
            <pc:docMk/>
            <pc:sldMk cId="951449358" sldId="5166"/>
            <ac:picMk id="17" creationId="{275EB9EA-242E-E32A-7DF8-E542F80E1164}"/>
          </ac:picMkLst>
        </pc:picChg>
        <pc:picChg chg="replST">
          <ac:chgData name="Dion3, Alain (SPAC/PSPC) (il-lui / he-him)" userId="b5972ad0-fee1-4393-9fd4-8bc589782ac7" providerId="ADAL" clId="{3ACCABA1-D66F-4904-8251-B355270E7CFD}" dt="2024-10-28T13:31:14.242" v="40"/>
          <ac:picMkLst>
            <pc:docMk/>
            <pc:sldMk cId="951449358" sldId="5166"/>
            <ac:picMk id="18" creationId="{82BBBD58-FA6F-6EC8-AECE-391F7F6F74D3}"/>
          </ac:picMkLst>
        </pc:picChg>
        <pc:picChg chg="replST">
          <ac:chgData name="Dion3, Alain (SPAC/PSPC) (il-lui / he-him)" userId="b5972ad0-fee1-4393-9fd4-8bc589782ac7" providerId="ADAL" clId="{3ACCABA1-D66F-4904-8251-B355270E7CFD}" dt="2024-10-28T13:31:14.302" v="48"/>
          <ac:picMkLst>
            <pc:docMk/>
            <pc:sldMk cId="951449358" sldId="5166"/>
            <ac:picMk id="31" creationId="{584F3591-1389-AFE2-9988-630538612733}"/>
          </ac:picMkLst>
        </pc:picChg>
        <pc:picChg chg="replST">
          <ac:chgData name="Dion3, Alain (SPAC/PSPC) (il-lui / he-him)" userId="b5972ad0-fee1-4393-9fd4-8bc589782ac7" providerId="ADAL" clId="{3ACCABA1-D66F-4904-8251-B355270E7CFD}" dt="2024-10-28T13:31:14.310" v="49"/>
          <ac:picMkLst>
            <pc:docMk/>
            <pc:sldMk cId="951449358" sldId="5166"/>
            <ac:picMk id="32" creationId="{FDF20F69-3197-FD5C-05EB-9E1AC0557767}"/>
          </ac:picMkLst>
        </pc:picChg>
      </pc:sldChg>
      <pc:sldChg chg="modSp mod addCm">
        <pc:chgData name="Dion3, Alain (SPAC/PSPC) (il-lui / he-him)" userId="b5972ad0-fee1-4393-9fd4-8bc589782ac7" providerId="ADAL" clId="{3ACCABA1-D66F-4904-8251-B355270E7CFD}" dt="2024-10-28T15:00:23.249" v="538"/>
        <pc:sldMkLst>
          <pc:docMk/>
          <pc:sldMk cId="2106271575" sldId="5167"/>
        </pc:sldMkLst>
        <pc:spChg chg="mod replST">
          <ac:chgData name="Dion3, Alain (SPAC/PSPC) (il-lui / he-him)" userId="b5972ad0-fee1-4393-9fd4-8bc589782ac7" providerId="ADAL" clId="{3ACCABA1-D66F-4904-8251-B355270E7CFD}" dt="2024-10-28T14:58:16.900" v="537" actId="790"/>
          <ac:spMkLst>
            <pc:docMk/>
            <pc:sldMk cId="2106271575" sldId="5167"/>
            <ac:spMk id="2" creationId="{0DA1C67A-4FAB-556C-5C8D-241597F9DA1B}"/>
          </ac:spMkLst>
        </pc:spChg>
        <pc:spChg chg="mod replST">
          <ac:chgData name="Dion3, Alain (SPAC/PSPC) (il-lui / he-him)" userId="b5972ad0-fee1-4393-9fd4-8bc589782ac7" providerId="ADAL" clId="{3ACCABA1-D66F-4904-8251-B355270E7CFD}" dt="2024-10-28T14:58:16.900" v="537" actId="790"/>
          <ac:spMkLst>
            <pc:docMk/>
            <pc:sldMk cId="2106271575" sldId="5167"/>
            <ac:spMk id="4" creationId="{6E84A27E-2844-316E-6672-1236545BDBDC}"/>
          </ac:spMkLst>
        </pc:spChg>
        <pc:spChg chg="mod replST">
          <ac:chgData name="Dion3, Alain (SPAC/PSPC) (il-lui / he-him)" userId="b5972ad0-fee1-4393-9fd4-8bc589782ac7" providerId="ADAL" clId="{3ACCABA1-D66F-4904-8251-B355270E7CFD}" dt="2024-10-28T14:58:16.900" v="537" actId="790"/>
          <ac:spMkLst>
            <pc:docMk/>
            <pc:sldMk cId="2106271575" sldId="5167"/>
            <ac:spMk id="7" creationId="{35341F70-17E8-89A5-84EF-DA67A9FDF4D9}"/>
          </ac:spMkLst>
        </pc:spChg>
        <pc:spChg chg="mod replST">
          <ac:chgData name="Dion3, Alain (SPAC/PSPC) (il-lui / he-him)" userId="b5972ad0-fee1-4393-9fd4-8bc589782ac7" providerId="ADAL" clId="{3ACCABA1-D66F-4904-8251-B355270E7CFD}" dt="2024-10-28T14:58:16.900" v="537" actId="790"/>
          <ac:spMkLst>
            <pc:docMk/>
            <pc:sldMk cId="2106271575" sldId="5167"/>
            <ac:spMk id="12" creationId="{9E7EA0FB-96DA-D309-DAD0-3AA33FFD40BB}"/>
          </ac:spMkLst>
        </pc:spChg>
        <pc:picChg chg="replST">
          <ac:chgData name="Dion3, Alain (SPAC/PSPC) (il-lui / he-him)" userId="b5972ad0-fee1-4393-9fd4-8bc589782ac7" providerId="ADAL" clId="{3ACCABA1-D66F-4904-8251-B355270E7CFD}" dt="2024-10-28T13:31:14.925" v="146"/>
          <ac:picMkLst>
            <pc:docMk/>
            <pc:sldMk cId="2106271575" sldId="5167"/>
            <ac:picMk id="3" creationId="{FA486D70-CC58-8A4B-29FE-3602F3FC2401}"/>
          </ac:picMkLst>
        </pc:picChg>
        <pc:picChg chg="replST">
          <ac:chgData name="Dion3, Alain (SPAC/PSPC) (il-lui / he-him)" userId="b5972ad0-fee1-4393-9fd4-8bc589782ac7" providerId="ADAL" clId="{3ACCABA1-D66F-4904-8251-B355270E7CFD}" dt="2024-10-28T13:31:14.931" v="147"/>
          <ac:picMkLst>
            <pc:docMk/>
            <pc:sldMk cId="2106271575" sldId="5167"/>
            <ac:picMk id="6" creationId="{ECCA0B59-DF14-4002-3BE9-97B46FAEC121}"/>
          </ac:picMkLst>
        </pc:picChg>
        <pc:picChg chg="replST">
          <ac:chgData name="Dion3, Alain (SPAC/PSPC) (il-lui / he-him)" userId="b5972ad0-fee1-4393-9fd4-8bc589782ac7" providerId="ADAL" clId="{3ACCABA1-D66F-4904-8251-B355270E7CFD}" dt="2024-10-28T13:31:14.943" v="149"/>
          <ac:picMkLst>
            <pc:docMk/>
            <pc:sldMk cId="2106271575" sldId="5167"/>
            <ac:picMk id="11" creationId="{34E26041-226E-BB54-F354-A606DDC5B170}"/>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5:00:23.249" v="538"/>
              <pc2:cmMkLst xmlns:pc2="http://schemas.microsoft.com/office/powerpoint/2019/9/main/command">
                <pc:docMk/>
                <pc:sldMk cId="2106271575" sldId="5167"/>
                <pc2:cmMk id="{6A66DB58-6306-43CE-9B8B-A56F6AF56B94}"/>
              </pc2:cmMkLst>
            </pc226:cmChg>
          </p:ext>
        </pc:extLst>
      </pc:sldChg>
      <pc:sldChg chg="modSp mod">
        <pc:chgData name="Dion3, Alain (SPAC/PSPC) (il-lui / he-him)" userId="b5972ad0-fee1-4393-9fd4-8bc589782ac7" providerId="ADAL" clId="{3ACCABA1-D66F-4904-8251-B355270E7CFD}" dt="2024-10-28T14:58:00.527" v="536" actId="20577"/>
        <pc:sldMkLst>
          <pc:docMk/>
          <pc:sldMk cId="3254786999" sldId="5168"/>
        </pc:sldMkLst>
        <pc:spChg chg="mod replST">
          <ac:chgData name="Dion3, Alain (SPAC/PSPC) (il-lui / he-him)" userId="b5972ad0-fee1-4393-9fd4-8bc589782ac7" providerId="ADAL" clId="{3ACCABA1-D66F-4904-8251-B355270E7CFD}" dt="2024-10-28T14:57:44.230" v="533" actId="790"/>
          <ac:spMkLst>
            <pc:docMk/>
            <pc:sldMk cId="3254786999" sldId="5168"/>
            <ac:spMk id="2" creationId="{0DA1C67A-4FAB-556C-5C8D-241597F9DA1B}"/>
          </ac:spMkLst>
        </pc:spChg>
        <pc:spChg chg="mod replST">
          <ac:chgData name="Dion3, Alain (SPAC/PSPC) (il-lui / he-him)" userId="b5972ad0-fee1-4393-9fd4-8bc589782ac7" providerId="ADAL" clId="{3ACCABA1-D66F-4904-8251-B355270E7CFD}" dt="2024-10-28T14:57:44.230" v="533" actId="790"/>
          <ac:spMkLst>
            <pc:docMk/>
            <pc:sldMk cId="3254786999" sldId="5168"/>
            <ac:spMk id="4" creationId="{6E84A27E-2844-316E-6672-1236545BDBDC}"/>
          </ac:spMkLst>
        </pc:spChg>
        <pc:spChg chg="mod replST">
          <ac:chgData name="Dion3, Alain (SPAC/PSPC) (il-lui / he-him)" userId="b5972ad0-fee1-4393-9fd4-8bc589782ac7" providerId="ADAL" clId="{3ACCABA1-D66F-4904-8251-B355270E7CFD}" dt="2024-10-28T14:58:00.527" v="536" actId="20577"/>
          <ac:spMkLst>
            <pc:docMk/>
            <pc:sldMk cId="3254786999" sldId="5168"/>
            <ac:spMk id="12" creationId="{49BC1508-1F65-AA39-033E-D60F15B261D2}"/>
          </ac:spMkLst>
        </pc:spChg>
        <pc:picChg chg="replST">
          <ac:chgData name="Dion3, Alain (SPAC/PSPC) (il-lui / he-him)" userId="b5972ad0-fee1-4393-9fd4-8bc589782ac7" providerId="ADAL" clId="{3ACCABA1-D66F-4904-8251-B355270E7CFD}" dt="2024-10-28T13:31:14.904" v="143"/>
          <ac:picMkLst>
            <pc:docMk/>
            <pc:sldMk cId="3254786999" sldId="5168"/>
            <ac:picMk id="3" creationId="{FA486D70-CC58-8A4B-29FE-3602F3FC2401}"/>
          </ac:picMkLst>
        </pc:picChg>
      </pc:sldChg>
      <pc:sldChg chg="modSp mod">
        <pc:chgData name="Dion3, Alain (SPAC/PSPC) (il-lui / he-him)" userId="b5972ad0-fee1-4393-9fd4-8bc589782ac7" providerId="ADAL" clId="{3ACCABA1-D66F-4904-8251-B355270E7CFD}" dt="2024-10-28T13:31:14.393" v="61"/>
        <pc:sldMkLst>
          <pc:docMk/>
          <pc:sldMk cId="775145580" sldId="5170"/>
        </pc:sldMkLst>
        <pc:spChg chg="replST">
          <ac:chgData name="Dion3, Alain (SPAC/PSPC) (il-lui / he-him)" userId="b5972ad0-fee1-4393-9fd4-8bc589782ac7" providerId="ADAL" clId="{3ACCABA1-D66F-4904-8251-B355270E7CFD}" dt="2024-10-28T13:31:14.393" v="61"/>
          <ac:spMkLst>
            <pc:docMk/>
            <pc:sldMk cId="775145580" sldId="5170"/>
            <ac:spMk id="4" creationId="{7D0AA24E-8F9C-5384-47ED-0C5CBF0D2122}"/>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ata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DEA71D-90D8-473D-9385-DE54761F8672}" type="doc">
      <dgm:prSet loTypeId="urn:microsoft.com/office/officeart/2005/8/layout/vList4" loCatId="list" qsTypeId="urn:microsoft.com/office/officeart/2005/8/quickstyle/simple1" qsCatId="simple" csTypeId="urn:microsoft.com/office/officeart/2005/8/colors/accent0_1" csCatId="mainScheme" phldr="1"/>
      <dgm:spPr/>
      <dgm:t>
        <a:bodyPr/>
        <a:lstStyle/>
        <a:p>
          <a:endParaRPr lang="fr-CA"/>
        </a:p>
      </dgm:t>
    </dgm:pt>
    <dgm:pt modelId="{A0EFD81D-DFB5-4522-9915-59F27FAA4567}">
      <dgm:prSet phldrT="[Texte]"/>
      <dgm:spPr/>
      <dgm:t>
        <a:bodyPr/>
        <a:lstStyle/>
        <a:p>
          <a:r>
            <a:rPr lang="en-CA" noProof="0" dirty="0"/>
            <a:t>Offering a space better suited to our tasks</a:t>
          </a:r>
        </a:p>
      </dgm:t>
    </dgm:pt>
    <dgm:pt modelId="{CFE85DD3-9783-47A5-8D10-76C6C3817669}" type="parTrans" cxnId="{473753B4-8426-4769-8EE5-B5AAAD192E8A}">
      <dgm:prSet/>
      <dgm:spPr/>
      <dgm:t>
        <a:bodyPr/>
        <a:lstStyle/>
        <a:p>
          <a:endParaRPr lang="fr-CA"/>
        </a:p>
      </dgm:t>
    </dgm:pt>
    <dgm:pt modelId="{4BF4C88B-0753-41C7-8C4E-20B4679EBE87}" type="sibTrans" cxnId="{473753B4-8426-4769-8EE5-B5AAAD192E8A}">
      <dgm:prSet/>
      <dgm:spPr/>
      <dgm:t>
        <a:bodyPr/>
        <a:lstStyle/>
        <a:p>
          <a:endParaRPr lang="fr-CA"/>
        </a:p>
      </dgm:t>
    </dgm:pt>
    <dgm:pt modelId="{044993C6-9AAC-46DA-85B9-4D823486783F}">
      <dgm:prSet phldrT="[Texte]"/>
      <dgm:spPr/>
      <dgm:t>
        <a:bodyPr/>
        <a:lstStyle/>
        <a:p>
          <a:r>
            <a:rPr lang="en-CA" noProof="0" dirty="0"/>
            <a:t>Ensuring the office facilitates in-person collaboration</a:t>
          </a:r>
        </a:p>
      </dgm:t>
    </dgm:pt>
    <dgm:pt modelId="{C82DD76F-78BF-4BAF-872F-9AE7B3192316}" type="parTrans" cxnId="{29A1BD3A-37B2-4855-A79F-0FC1327D2780}">
      <dgm:prSet/>
      <dgm:spPr/>
      <dgm:t>
        <a:bodyPr/>
        <a:lstStyle/>
        <a:p>
          <a:endParaRPr lang="fr-CA"/>
        </a:p>
      </dgm:t>
    </dgm:pt>
    <dgm:pt modelId="{43FB2E63-A1A6-4993-81C5-6F2E2871C2FB}" type="sibTrans" cxnId="{29A1BD3A-37B2-4855-A79F-0FC1327D2780}">
      <dgm:prSet/>
      <dgm:spPr/>
      <dgm:t>
        <a:bodyPr/>
        <a:lstStyle/>
        <a:p>
          <a:endParaRPr lang="fr-CA"/>
        </a:p>
      </dgm:t>
    </dgm:pt>
    <dgm:pt modelId="{E6F05472-84B2-4040-844E-F7D13BBDDE07}">
      <dgm:prSet phldrT="[Texte]"/>
      <dgm:spPr/>
      <dgm:t>
        <a:bodyPr/>
        <a:lstStyle/>
        <a:p>
          <a:r>
            <a:rPr lang="en-CA" noProof="0" dirty="0"/>
            <a:t>Offering quiet spaces for individual tasks</a:t>
          </a:r>
        </a:p>
      </dgm:t>
    </dgm:pt>
    <dgm:pt modelId="{506A388A-A412-4721-B42D-0480A1119E44}" type="parTrans" cxnId="{17763C12-2A6C-4FAA-882C-1D1BA75CF02C}">
      <dgm:prSet/>
      <dgm:spPr/>
      <dgm:t>
        <a:bodyPr/>
        <a:lstStyle/>
        <a:p>
          <a:endParaRPr lang="fr-CA"/>
        </a:p>
      </dgm:t>
    </dgm:pt>
    <dgm:pt modelId="{06C85065-9075-4E6B-A332-BEB26B12B061}" type="sibTrans" cxnId="{17763C12-2A6C-4FAA-882C-1D1BA75CF02C}">
      <dgm:prSet/>
      <dgm:spPr/>
      <dgm:t>
        <a:bodyPr/>
        <a:lstStyle/>
        <a:p>
          <a:endParaRPr lang="fr-CA"/>
        </a:p>
      </dgm:t>
    </dgm:pt>
    <dgm:pt modelId="{6EBC7762-69F6-455B-B81D-7E871660C10D}">
      <dgm:prSet phldrT="[Texte]"/>
      <dgm:spPr/>
      <dgm:t>
        <a:bodyPr/>
        <a:lstStyle/>
        <a:p>
          <a:r>
            <a:rPr lang="en-CA" noProof="0" dirty="0"/>
            <a:t>Promoting accessibility and inclusion</a:t>
          </a:r>
        </a:p>
      </dgm:t>
    </dgm:pt>
    <dgm:pt modelId="{2C3DA0F7-0AE7-42D8-B194-8AA4F89134E1}" type="parTrans" cxnId="{C86F30AA-CB83-4FC0-B126-6C07B433FB08}">
      <dgm:prSet/>
      <dgm:spPr/>
      <dgm:t>
        <a:bodyPr/>
        <a:lstStyle/>
        <a:p>
          <a:endParaRPr lang="fr-CA"/>
        </a:p>
      </dgm:t>
    </dgm:pt>
    <dgm:pt modelId="{046C5468-AEF3-424C-9EC7-B6773CA39836}" type="sibTrans" cxnId="{C86F30AA-CB83-4FC0-B126-6C07B433FB08}">
      <dgm:prSet/>
      <dgm:spPr/>
      <dgm:t>
        <a:bodyPr/>
        <a:lstStyle/>
        <a:p>
          <a:endParaRPr lang="fr-CA"/>
        </a:p>
      </dgm:t>
    </dgm:pt>
    <dgm:pt modelId="{D28E9A90-8145-4E54-A6C0-5E4130843A13}">
      <dgm:prSet phldrT="[Texte]"/>
      <dgm:spPr/>
      <dgm:t>
        <a:bodyPr/>
        <a:lstStyle/>
        <a:p>
          <a:r>
            <a:rPr lang="en-CA" noProof="0" dirty="0"/>
            <a:t>Improving workstation ergonomics</a:t>
          </a:r>
        </a:p>
      </dgm:t>
    </dgm:pt>
    <dgm:pt modelId="{4C895BE3-1CAC-4E6F-ADB7-2BAD8B80AC5B}" type="parTrans" cxnId="{49EB1122-30EC-4EC7-9EF3-839A7AF14CCE}">
      <dgm:prSet/>
      <dgm:spPr/>
      <dgm:t>
        <a:bodyPr/>
        <a:lstStyle/>
        <a:p>
          <a:endParaRPr lang="fr-CA"/>
        </a:p>
      </dgm:t>
    </dgm:pt>
    <dgm:pt modelId="{DFFBE73B-D7DC-4735-84DB-F68FFC7DFF8A}" type="sibTrans" cxnId="{49EB1122-30EC-4EC7-9EF3-839A7AF14CCE}">
      <dgm:prSet/>
      <dgm:spPr/>
      <dgm:t>
        <a:bodyPr/>
        <a:lstStyle/>
        <a:p>
          <a:endParaRPr lang="fr-CA"/>
        </a:p>
      </dgm:t>
    </dgm:pt>
    <dgm:pt modelId="{8EC30425-29FC-4F58-9FF1-D33E64C4443C}">
      <dgm:prSet phldrT="[Texte]"/>
      <dgm:spPr/>
      <dgm:t>
        <a:bodyPr/>
        <a:lstStyle/>
        <a:p>
          <a:r>
            <a:rPr lang="en-CA" noProof="0" dirty="0"/>
            <a:t>Offering more options</a:t>
          </a:r>
        </a:p>
      </dgm:t>
    </dgm:pt>
    <dgm:pt modelId="{428A790E-D37C-4416-9338-9849D201DBAB}" type="parTrans" cxnId="{66FACEAE-9F39-424F-960A-6775A030A329}">
      <dgm:prSet/>
      <dgm:spPr/>
      <dgm:t>
        <a:bodyPr/>
        <a:lstStyle/>
        <a:p>
          <a:endParaRPr lang="fr-CA"/>
        </a:p>
      </dgm:t>
    </dgm:pt>
    <dgm:pt modelId="{EC7B8369-FBEF-46AF-BB44-EECED6A5D193}" type="sibTrans" cxnId="{66FACEAE-9F39-424F-960A-6775A030A329}">
      <dgm:prSet/>
      <dgm:spPr/>
      <dgm:t>
        <a:bodyPr/>
        <a:lstStyle/>
        <a:p>
          <a:endParaRPr lang="fr-CA"/>
        </a:p>
      </dgm:t>
    </dgm:pt>
    <dgm:pt modelId="{FD1DA089-FB64-46F8-B330-7F5A7531CE2F}">
      <dgm:prSet phldrT="[Texte]"/>
      <dgm:spPr/>
      <dgm:t>
        <a:bodyPr/>
        <a:lstStyle/>
        <a:p>
          <a:r>
            <a:rPr lang="en-CA" noProof="0" dirty="0"/>
            <a:t>Improving the workplace experience</a:t>
          </a:r>
        </a:p>
      </dgm:t>
    </dgm:pt>
    <dgm:pt modelId="{0F378E54-BBDA-47C9-A3C2-02625D0467E9}" type="parTrans" cxnId="{DE64FCCA-7978-4ED6-AE4D-67AB505BFDDE}">
      <dgm:prSet/>
      <dgm:spPr/>
      <dgm:t>
        <a:bodyPr/>
        <a:lstStyle/>
        <a:p>
          <a:endParaRPr lang="fr-CA"/>
        </a:p>
      </dgm:t>
    </dgm:pt>
    <dgm:pt modelId="{A51ED906-5228-48E5-AD43-4003CF854D4D}" type="sibTrans" cxnId="{DE64FCCA-7978-4ED6-AE4D-67AB505BFDDE}">
      <dgm:prSet/>
      <dgm:spPr/>
      <dgm:t>
        <a:bodyPr/>
        <a:lstStyle/>
        <a:p>
          <a:endParaRPr lang="fr-CA"/>
        </a:p>
      </dgm:t>
    </dgm:pt>
    <dgm:pt modelId="{FE0FBE0B-EF35-4017-89F5-2FE936A35EC1}">
      <dgm:prSet phldrT="[Texte]"/>
      <dgm:spPr/>
      <dgm:t>
        <a:bodyPr/>
        <a:lstStyle/>
        <a:p>
          <a:r>
            <a:rPr lang="en-CA" noProof="0" dirty="0"/>
            <a:t>Ensure that everyone get something out of it</a:t>
          </a:r>
        </a:p>
      </dgm:t>
    </dgm:pt>
    <dgm:pt modelId="{C2E8EEFB-C58A-4059-B969-F97831A1D213}" type="parTrans" cxnId="{06429EE3-75D4-4E93-BBF8-A61AC886ACCF}">
      <dgm:prSet/>
      <dgm:spPr/>
      <dgm:t>
        <a:bodyPr/>
        <a:lstStyle/>
        <a:p>
          <a:endParaRPr lang="fr-CA"/>
        </a:p>
      </dgm:t>
    </dgm:pt>
    <dgm:pt modelId="{6FBA629C-6874-48E1-B305-ABA65B107F77}" type="sibTrans" cxnId="{06429EE3-75D4-4E93-BBF8-A61AC886ACCF}">
      <dgm:prSet/>
      <dgm:spPr/>
      <dgm:t>
        <a:bodyPr/>
        <a:lstStyle/>
        <a:p>
          <a:endParaRPr lang="fr-CA"/>
        </a:p>
      </dgm:t>
    </dgm:pt>
    <dgm:pt modelId="{4670D9BF-F5C4-48D0-A5AD-334413B4D5F6}" type="pres">
      <dgm:prSet presAssocID="{77DEA71D-90D8-473D-9385-DE54761F8672}" presName="linear" presStyleCnt="0">
        <dgm:presLayoutVars>
          <dgm:dir/>
          <dgm:resizeHandles val="exact"/>
        </dgm:presLayoutVars>
      </dgm:prSet>
      <dgm:spPr/>
    </dgm:pt>
    <dgm:pt modelId="{E28EDD18-AEC3-4717-A60B-0B07D5A50B7B}" type="pres">
      <dgm:prSet presAssocID="{A0EFD81D-DFB5-4522-9915-59F27FAA4567}" presName="comp" presStyleCnt="0"/>
      <dgm:spPr/>
    </dgm:pt>
    <dgm:pt modelId="{5CE007CC-E62E-4C76-8653-AE2AA6178208}" type="pres">
      <dgm:prSet presAssocID="{A0EFD81D-DFB5-4522-9915-59F27FAA4567}" presName="box" presStyleLbl="node1" presStyleIdx="0" presStyleCnt="3" custLinFactNeighborX="-148" custLinFactNeighborY="-277"/>
      <dgm:spPr/>
    </dgm:pt>
    <dgm:pt modelId="{B95AE615-A300-40D4-A5F1-F981768E8B3A}" type="pres">
      <dgm:prSet presAssocID="{A0EFD81D-DFB5-4522-9915-59F27FAA4567}" presName="img" presStyleLbl="fgImgPlace1" presStyleIdx="0" presStyleCnt="3" custScaleX="50810" custScaleY="59193" custLinFactNeighborX="-313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9000" b="-29000"/>
          </a:stretch>
        </a:blipFill>
        <a:ln>
          <a:noFill/>
        </a:ln>
      </dgm:spPr>
      <dgm:extLst>
        <a:ext uri="{E40237B7-FDA0-4F09-8148-C483321AD2D9}">
          <dgm14:cNvPr xmlns:dgm14="http://schemas.microsoft.com/office/drawing/2010/diagram" id="0" name="" descr="Enseignant avec un remplissage uni"/>
        </a:ext>
      </dgm:extLst>
    </dgm:pt>
    <dgm:pt modelId="{AD44518E-0EFC-4C8E-B907-67EC386A9F3A}" type="pres">
      <dgm:prSet presAssocID="{A0EFD81D-DFB5-4522-9915-59F27FAA4567}" presName="text" presStyleLbl="node1" presStyleIdx="0" presStyleCnt="3">
        <dgm:presLayoutVars>
          <dgm:bulletEnabled val="1"/>
        </dgm:presLayoutVars>
      </dgm:prSet>
      <dgm:spPr/>
    </dgm:pt>
    <dgm:pt modelId="{59E1794C-2245-4071-9623-D95A63AAEFD8}" type="pres">
      <dgm:prSet presAssocID="{4BF4C88B-0753-41C7-8C4E-20B4679EBE87}" presName="spacer" presStyleCnt="0"/>
      <dgm:spPr/>
    </dgm:pt>
    <dgm:pt modelId="{86961CF6-A343-4DDF-92D7-B080E24CFCCC}" type="pres">
      <dgm:prSet presAssocID="{6EBC7762-69F6-455B-B81D-7E871660C10D}" presName="comp" presStyleCnt="0"/>
      <dgm:spPr/>
    </dgm:pt>
    <dgm:pt modelId="{A457552D-75A1-4799-A6E8-A49F088A3AC3}" type="pres">
      <dgm:prSet presAssocID="{6EBC7762-69F6-455B-B81D-7E871660C10D}" presName="box" presStyleLbl="node1" presStyleIdx="1" presStyleCnt="3"/>
      <dgm:spPr/>
    </dgm:pt>
    <dgm:pt modelId="{FDACB6A6-4368-4805-BEE7-9B6F9B3B3470}" type="pres">
      <dgm:prSet presAssocID="{6EBC7762-69F6-455B-B81D-7E871660C10D}" presName="img" presStyleLbl="fgImgPlace1" presStyleIdx="1" presStyleCnt="3" custScaleX="47488" custScaleY="97674" custLinFactNeighborX="-4218" custLinFactNeighborY="-151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a:noFill/>
        </a:ln>
      </dgm:spPr>
      <dgm:extLst>
        <a:ext uri="{E40237B7-FDA0-4F09-8148-C483321AD2D9}">
          <dgm14:cNvPr xmlns:dgm14="http://schemas.microsoft.com/office/drawing/2010/diagram" id="0" name="" descr="Accès universel avec un remplissage uni"/>
        </a:ext>
      </dgm:extLst>
    </dgm:pt>
    <dgm:pt modelId="{8935447B-1F1D-4D23-ADFD-A90F10DD7831}" type="pres">
      <dgm:prSet presAssocID="{6EBC7762-69F6-455B-B81D-7E871660C10D}" presName="text" presStyleLbl="node1" presStyleIdx="1" presStyleCnt="3">
        <dgm:presLayoutVars>
          <dgm:bulletEnabled val="1"/>
        </dgm:presLayoutVars>
      </dgm:prSet>
      <dgm:spPr/>
    </dgm:pt>
    <dgm:pt modelId="{47997BB1-E988-4687-AAD6-D637DAF74057}" type="pres">
      <dgm:prSet presAssocID="{046C5468-AEF3-424C-9EC7-B6773CA39836}" presName="spacer" presStyleCnt="0"/>
      <dgm:spPr/>
    </dgm:pt>
    <dgm:pt modelId="{D4E0F3EF-F37B-47D6-ADFF-A1A0E0480F00}" type="pres">
      <dgm:prSet presAssocID="{FD1DA089-FB64-46F8-B330-7F5A7531CE2F}" presName="comp" presStyleCnt="0"/>
      <dgm:spPr/>
    </dgm:pt>
    <dgm:pt modelId="{B66D2A5C-93CF-454D-88DD-BC470F0CA08E}" type="pres">
      <dgm:prSet presAssocID="{FD1DA089-FB64-46F8-B330-7F5A7531CE2F}" presName="box" presStyleLbl="node1" presStyleIdx="2" presStyleCnt="3"/>
      <dgm:spPr/>
    </dgm:pt>
    <dgm:pt modelId="{10B0BF81-7F94-4DC6-9B57-BB0FFE3EFD0E}" type="pres">
      <dgm:prSet presAssocID="{FD1DA089-FB64-46F8-B330-7F5A7531CE2F}" presName="img" presStyleLbl="fgImgPlace1" presStyleIdx="2" presStyleCnt="3" custScaleX="47028" custScaleY="84845" custLinFactNeighborX="-5220" custLinFactNeighborY="-738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ullseye"/>
        </a:ext>
      </dgm:extLst>
    </dgm:pt>
    <dgm:pt modelId="{5A6BC2BE-127D-4FCF-A0F8-1CD21A01898D}" type="pres">
      <dgm:prSet presAssocID="{FD1DA089-FB64-46F8-B330-7F5A7531CE2F}" presName="text" presStyleLbl="node1" presStyleIdx="2" presStyleCnt="3">
        <dgm:presLayoutVars>
          <dgm:bulletEnabled val="1"/>
        </dgm:presLayoutVars>
      </dgm:prSet>
      <dgm:spPr/>
    </dgm:pt>
  </dgm:ptLst>
  <dgm:cxnLst>
    <dgm:cxn modelId="{17763C12-2A6C-4FAA-882C-1D1BA75CF02C}" srcId="{A0EFD81D-DFB5-4522-9915-59F27FAA4567}" destId="{E6F05472-84B2-4040-844E-F7D13BBDDE07}" srcOrd="1" destOrd="0" parTransId="{506A388A-A412-4721-B42D-0480A1119E44}" sibTransId="{06C85065-9075-4E6B-A332-BEB26B12B061}"/>
    <dgm:cxn modelId="{FCC0CB15-76D4-4DA4-81AC-2545462D4724}" type="presOf" srcId="{6EBC7762-69F6-455B-B81D-7E871660C10D}" destId="{8935447B-1F1D-4D23-ADFD-A90F10DD7831}" srcOrd="1" destOrd="0" presId="urn:microsoft.com/office/officeart/2005/8/layout/vList4"/>
    <dgm:cxn modelId="{653A941D-9DD3-4927-AE26-35D219DDC9D4}" type="presOf" srcId="{77DEA71D-90D8-473D-9385-DE54761F8672}" destId="{4670D9BF-F5C4-48D0-A5AD-334413B4D5F6}" srcOrd="0" destOrd="0" presId="urn:microsoft.com/office/officeart/2005/8/layout/vList4"/>
    <dgm:cxn modelId="{49EB1122-30EC-4EC7-9EF3-839A7AF14CCE}" srcId="{6EBC7762-69F6-455B-B81D-7E871660C10D}" destId="{D28E9A90-8145-4E54-A6C0-5E4130843A13}" srcOrd="0" destOrd="0" parTransId="{4C895BE3-1CAC-4E6F-ADB7-2BAD8B80AC5B}" sibTransId="{DFFBE73B-D7DC-4735-84DB-F68FFC7DFF8A}"/>
    <dgm:cxn modelId="{66B40F2D-8982-4007-B366-0E46E6427309}" type="presOf" srcId="{A0EFD81D-DFB5-4522-9915-59F27FAA4567}" destId="{AD44518E-0EFC-4C8E-B907-67EC386A9F3A}" srcOrd="1" destOrd="0" presId="urn:microsoft.com/office/officeart/2005/8/layout/vList4"/>
    <dgm:cxn modelId="{29A1BD3A-37B2-4855-A79F-0FC1327D2780}" srcId="{A0EFD81D-DFB5-4522-9915-59F27FAA4567}" destId="{044993C6-9AAC-46DA-85B9-4D823486783F}" srcOrd="0" destOrd="0" parTransId="{C82DD76F-78BF-4BAF-872F-9AE7B3192316}" sibTransId="{43FB2E63-A1A6-4993-81C5-6F2E2871C2FB}"/>
    <dgm:cxn modelId="{2F962041-E763-44C5-8B78-4138C5D5EEEE}" type="presOf" srcId="{6EBC7762-69F6-455B-B81D-7E871660C10D}" destId="{A457552D-75A1-4799-A6E8-A49F088A3AC3}" srcOrd="0" destOrd="0" presId="urn:microsoft.com/office/officeart/2005/8/layout/vList4"/>
    <dgm:cxn modelId="{C56F4B41-ECA0-4DA5-83BB-BD7E1CE6CADC}" type="presOf" srcId="{E6F05472-84B2-4040-844E-F7D13BBDDE07}" destId="{5CE007CC-E62E-4C76-8653-AE2AA6178208}" srcOrd="0" destOrd="2" presId="urn:microsoft.com/office/officeart/2005/8/layout/vList4"/>
    <dgm:cxn modelId="{F5E70247-A7F7-40A9-BB75-5C20FC00FA44}" type="presOf" srcId="{FD1DA089-FB64-46F8-B330-7F5A7531CE2F}" destId="{B66D2A5C-93CF-454D-88DD-BC470F0CA08E}" srcOrd="0" destOrd="0" presId="urn:microsoft.com/office/officeart/2005/8/layout/vList4"/>
    <dgm:cxn modelId="{A93C364A-096E-48CC-904B-1163146B83FD}" type="presOf" srcId="{D28E9A90-8145-4E54-A6C0-5E4130843A13}" destId="{8935447B-1F1D-4D23-ADFD-A90F10DD7831}" srcOrd="1" destOrd="1" presId="urn:microsoft.com/office/officeart/2005/8/layout/vList4"/>
    <dgm:cxn modelId="{AE12E27E-B0D0-44AB-BE00-AF9939CBB6D8}" type="presOf" srcId="{8EC30425-29FC-4F58-9FF1-D33E64C4443C}" destId="{A457552D-75A1-4799-A6E8-A49F088A3AC3}" srcOrd="0" destOrd="2" presId="urn:microsoft.com/office/officeart/2005/8/layout/vList4"/>
    <dgm:cxn modelId="{E8B07185-BD76-4766-B52E-AF982479BC27}" type="presOf" srcId="{044993C6-9AAC-46DA-85B9-4D823486783F}" destId="{5CE007CC-E62E-4C76-8653-AE2AA6178208}" srcOrd="0" destOrd="1" presId="urn:microsoft.com/office/officeart/2005/8/layout/vList4"/>
    <dgm:cxn modelId="{64718AA4-D790-466E-A48E-36C12FD1B523}" type="presOf" srcId="{A0EFD81D-DFB5-4522-9915-59F27FAA4567}" destId="{5CE007CC-E62E-4C76-8653-AE2AA6178208}" srcOrd="0" destOrd="0" presId="urn:microsoft.com/office/officeart/2005/8/layout/vList4"/>
    <dgm:cxn modelId="{C86F30AA-CB83-4FC0-B126-6C07B433FB08}" srcId="{77DEA71D-90D8-473D-9385-DE54761F8672}" destId="{6EBC7762-69F6-455B-B81D-7E871660C10D}" srcOrd="1" destOrd="0" parTransId="{2C3DA0F7-0AE7-42D8-B194-8AA4F89134E1}" sibTransId="{046C5468-AEF3-424C-9EC7-B6773CA39836}"/>
    <dgm:cxn modelId="{66FACEAE-9F39-424F-960A-6775A030A329}" srcId="{6EBC7762-69F6-455B-B81D-7E871660C10D}" destId="{8EC30425-29FC-4F58-9FF1-D33E64C4443C}" srcOrd="1" destOrd="0" parTransId="{428A790E-D37C-4416-9338-9849D201DBAB}" sibTransId="{EC7B8369-FBEF-46AF-BB44-EECED6A5D193}"/>
    <dgm:cxn modelId="{473753B4-8426-4769-8EE5-B5AAAD192E8A}" srcId="{77DEA71D-90D8-473D-9385-DE54761F8672}" destId="{A0EFD81D-DFB5-4522-9915-59F27FAA4567}" srcOrd="0" destOrd="0" parTransId="{CFE85DD3-9783-47A5-8D10-76C6C3817669}" sibTransId="{4BF4C88B-0753-41C7-8C4E-20B4679EBE87}"/>
    <dgm:cxn modelId="{03DE03BB-BFC8-44E1-B5F1-85A73A259AB6}" type="presOf" srcId="{8EC30425-29FC-4F58-9FF1-D33E64C4443C}" destId="{8935447B-1F1D-4D23-ADFD-A90F10DD7831}" srcOrd="1" destOrd="2" presId="urn:microsoft.com/office/officeart/2005/8/layout/vList4"/>
    <dgm:cxn modelId="{46A3FDBC-9971-4974-9D75-F1F43C5BF96C}" type="presOf" srcId="{D28E9A90-8145-4E54-A6C0-5E4130843A13}" destId="{A457552D-75A1-4799-A6E8-A49F088A3AC3}" srcOrd="0" destOrd="1" presId="urn:microsoft.com/office/officeart/2005/8/layout/vList4"/>
    <dgm:cxn modelId="{DE64FCCA-7978-4ED6-AE4D-67AB505BFDDE}" srcId="{77DEA71D-90D8-473D-9385-DE54761F8672}" destId="{FD1DA089-FB64-46F8-B330-7F5A7531CE2F}" srcOrd="2" destOrd="0" parTransId="{0F378E54-BBDA-47C9-A3C2-02625D0467E9}" sibTransId="{A51ED906-5228-48E5-AD43-4003CF854D4D}"/>
    <dgm:cxn modelId="{DF6540D8-1FAF-49B3-9DAB-E0CB58EB9C13}" type="presOf" srcId="{044993C6-9AAC-46DA-85B9-4D823486783F}" destId="{AD44518E-0EFC-4C8E-B907-67EC386A9F3A}" srcOrd="1" destOrd="1" presId="urn:microsoft.com/office/officeart/2005/8/layout/vList4"/>
    <dgm:cxn modelId="{C83501E3-2102-4965-829E-11D691E39A75}" type="presOf" srcId="{E6F05472-84B2-4040-844E-F7D13BBDDE07}" destId="{AD44518E-0EFC-4C8E-B907-67EC386A9F3A}" srcOrd="1" destOrd="2" presId="urn:microsoft.com/office/officeart/2005/8/layout/vList4"/>
    <dgm:cxn modelId="{06429EE3-75D4-4E93-BBF8-A61AC886ACCF}" srcId="{FD1DA089-FB64-46F8-B330-7F5A7531CE2F}" destId="{FE0FBE0B-EF35-4017-89F5-2FE936A35EC1}" srcOrd="0" destOrd="0" parTransId="{C2E8EEFB-C58A-4059-B969-F97831A1D213}" sibTransId="{6FBA629C-6874-48E1-B305-ABA65B107F77}"/>
    <dgm:cxn modelId="{0BBC02E4-EB76-42D5-ADD6-6751939DE112}" type="presOf" srcId="{FE0FBE0B-EF35-4017-89F5-2FE936A35EC1}" destId="{5A6BC2BE-127D-4FCF-A0F8-1CD21A01898D}" srcOrd="1" destOrd="1" presId="urn:microsoft.com/office/officeart/2005/8/layout/vList4"/>
    <dgm:cxn modelId="{75FD82F1-3CBB-4C82-A021-02B0E211BA67}" type="presOf" srcId="{FE0FBE0B-EF35-4017-89F5-2FE936A35EC1}" destId="{B66D2A5C-93CF-454D-88DD-BC470F0CA08E}" srcOrd="0" destOrd="1" presId="urn:microsoft.com/office/officeart/2005/8/layout/vList4"/>
    <dgm:cxn modelId="{106908FE-423B-4BB3-93C9-084F87E944B6}" type="presOf" srcId="{FD1DA089-FB64-46F8-B330-7F5A7531CE2F}" destId="{5A6BC2BE-127D-4FCF-A0F8-1CD21A01898D}" srcOrd="1" destOrd="0" presId="urn:microsoft.com/office/officeart/2005/8/layout/vList4"/>
    <dgm:cxn modelId="{B979A555-73B0-4340-8671-DA0AF5760E71}" type="presParOf" srcId="{4670D9BF-F5C4-48D0-A5AD-334413B4D5F6}" destId="{E28EDD18-AEC3-4717-A60B-0B07D5A50B7B}" srcOrd="0" destOrd="0" presId="urn:microsoft.com/office/officeart/2005/8/layout/vList4"/>
    <dgm:cxn modelId="{43F61213-90DB-48F0-B1AD-15AF8840A97C}" type="presParOf" srcId="{E28EDD18-AEC3-4717-A60B-0B07D5A50B7B}" destId="{5CE007CC-E62E-4C76-8653-AE2AA6178208}" srcOrd="0" destOrd="0" presId="urn:microsoft.com/office/officeart/2005/8/layout/vList4"/>
    <dgm:cxn modelId="{4009CE4E-3984-40CE-A22B-71C1591B0775}" type="presParOf" srcId="{E28EDD18-AEC3-4717-A60B-0B07D5A50B7B}" destId="{B95AE615-A300-40D4-A5F1-F981768E8B3A}" srcOrd="1" destOrd="0" presId="urn:microsoft.com/office/officeart/2005/8/layout/vList4"/>
    <dgm:cxn modelId="{B7F931E4-F412-4EB5-BA5C-AE92E7F487B2}" type="presParOf" srcId="{E28EDD18-AEC3-4717-A60B-0B07D5A50B7B}" destId="{AD44518E-0EFC-4C8E-B907-67EC386A9F3A}" srcOrd="2" destOrd="0" presId="urn:microsoft.com/office/officeart/2005/8/layout/vList4"/>
    <dgm:cxn modelId="{33DB3C62-DE60-4BC0-A238-107D95DC7642}" type="presParOf" srcId="{4670D9BF-F5C4-48D0-A5AD-334413B4D5F6}" destId="{59E1794C-2245-4071-9623-D95A63AAEFD8}" srcOrd="1" destOrd="0" presId="urn:microsoft.com/office/officeart/2005/8/layout/vList4"/>
    <dgm:cxn modelId="{5994CACF-ACE6-4C89-8E77-B5ADA74263A4}" type="presParOf" srcId="{4670D9BF-F5C4-48D0-A5AD-334413B4D5F6}" destId="{86961CF6-A343-4DDF-92D7-B080E24CFCCC}" srcOrd="2" destOrd="0" presId="urn:microsoft.com/office/officeart/2005/8/layout/vList4"/>
    <dgm:cxn modelId="{10ACEFAA-DCBB-49DF-B9C6-99BDFDF11718}" type="presParOf" srcId="{86961CF6-A343-4DDF-92D7-B080E24CFCCC}" destId="{A457552D-75A1-4799-A6E8-A49F088A3AC3}" srcOrd="0" destOrd="0" presId="urn:microsoft.com/office/officeart/2005/8/layout/vList4"/>
    <dgm:cxn modelId="{C35426D2-FA0D-4203-A93F-236B73C00D3E}" type="presParOf" srcId="{86961CF6-A343-4DDF-92D7-B080E24CFCCC}" destId="{FDACB6A6-4368-4805-BEE7-9B6F9B3B3470}" srcOrd="1" destOrd="0" presId="urn:microsoft.com/office/officeart/2005/8/layout/vList4"/>
    <dgm:cxn modelId="{817F1A85-CF86-4BC1-8ABB-860BA0C95A14}" type="presParOf" srcId="{86961CF6-A343-4DDF-92D7-B080E24CFCCC}" destId="{8935447B-1F1D-4D23-ADFD-A90F10DD7831}" srcOrd="2" destOrd="0" presId="urn:microsoft.com/office/officeart/2005/8/layout/vList4"/>
    <dgm:cxn modelId="{F6D94562-99E5-4FE0-988B-0AC97F59AF16}" type="presParOf" srcId="{4670D9BF-F5C4-48D0-A5AD-334413B4D5F6}" destId="{47997BB1-E988-4687-AAD6-D637DAF74057}" srcOrd="3" destOrd="0" presId="urn:microsoft.com/office/officeart/2005/8/layout/vList4"/>
    <dgm:cxn modelId="{A07F9653-B532-4D23-9D1A-24E8A74FC89D}" type="presParOf" srcId="{4670D9BF-F5C4-48D0-A5AD-334413B4D5F6}" destId="{D4E0F3EF-F37B-47D6-ADFF-A1A0E0480F00}" srcOrd="4" destOrd="0" presId="urn:microsoft.com/office/officeart/2005/8/layout/vList4"/>
    <dgm:cxn modelId="{77B98813-59A9-4A52-BDA5-34745034BD3B}" type="presParOf" srcId="{D4E0F3EF-F37B-47D6-ADFF-A1A0E0480F00}" destId="{B66D2A5C-93CF-454D-88DD-BC470F0CA08E}" srcOrd="0" destOrd="0" presId="urn:microsoft.com/office/officeart/2005/8/layout/vList4"/>
    <dgm:cxn modelId="{FC9D4608-557D-4507-A8C8-A72E36F96D0C}" type="presParOf" srcId="{D4E0F3EF-F37B-47D6-ADFF-A1A0E0480F00}" destId="{10B0BF81-7F94-4DC6-9B57-BB0FFE3EFD0E}" srcOrd="1" destOrd="0" presId="urn:microsoft.com/office/officeart/2005/8/layout/vList4"/>
    <dgm:cxn modelId="{1F6E89A0-3BD9-4B90-AEF1-D3BF427FF366}" type="presParOf" srcId="{D4E0F3EF-F37B-47D6-ADFF-A1A0E0480F00}" destId="{5A6BC2BE-127D-4FCF-A0F8-1CD21A01898D}" srcOrd="2" destOrd="0" presId="urn:microsoft.com/office/officeart/2005/8/layout/vList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7695C5-09A0-458A-9F23-BC461F36518F}" type="doc">
      <dgm:prSet loTypeId="urn:microsoft.com/office/officeart/2005/8/layout/hList7" loCatId="list" qsTypeId="urn:microsoft.com/office/officeart/2005/8/quickstyle/simple5" qsCatId="simple" csTypeId="urn:microsoft.com/office/officeart/2005/8/colors/colorful1" csCatId="colorful" phldr="1"/>
      <dgm:spPr/>
      <dgm:t>
        <a:bodyPr/>
        <a:lstStyle/>
        <a:p>
          <a:endParaRPr lang="fr-CA"/>
        </a:p>
      </dgm:t>
    </dgm:pt>
    <dgm:pt modelId="{180EA75F-C16E-457B-B1E1-BC6DC220B65E}">
      <dgm:prSet phldrT="[Texte]"/>
      <dgm:spPr/>
      <dgm:t>
        <a:bodyPr/>
        <a:lstStyle/>
        <a:p>
          <a:r>
            <a:rPr lang="fr-CA" dirty="0"/>
            <a:t>Experiment</a:t>
          </a:r>
        </a:p>
      </dgm:t>
    </dgm:pt>
    <dgm:pt modelId="{B80A7437-1EF5-4785-AEA6-EAA55DA51F4B}" type="parTrans" cxnId="{DD795CEA-9BA3-49FD-9649-AB50F702F8FF}">
      <dgm:prSet/>
      <dgm:spPr/>
      <dgm:t>
        <a:bodyPr/>
        <a:lstStyle/>
        <a:p>
          <a:endParaRPr lang="fr-CA"/>
        </a:p>
      </dgm:t>
    </dgm:pt>
    <dgm:pt modelId="{6EDDA166-1BC3-4813-99CE-4A7638E414C2}" type="sibTrans" cxnId="{DD795CEA-9BA3-49FD-9649-AB50F702F8FF}">
      <dgm:prSet/>
      <dgm:spPr/>
      <dgm:t>
        <a:bodyPr/>
        <a:lstStyle/>
        <a:p>
          <a:endParaRPr lang="fr-CA"/>
        </a:p>
      </dgm:t>
    </dgm:pt>
    <dgm:pt modelId="{B55B18AF-498A-4C75-A2DB-95C27E6147D2}">
      <dgm:prSet phldrT="[Texte]"/>
      <dgm:spPr/>
      <dgm:t>
        <a:bodyPr/>
        <a:lstStyle/>
        <a:p>
          <a:r>
            <a:rPr lang="fr-CA" dirty="0"/>
            <a:t>Thinking of others</a:t>
          </a:r>
        </a:p>
      </dgm:t>
    </dgm:pt>
    <dgm:pt modelId="{EFC92D3E-1E70-4466-8C3D-E0575750A6DF}" type="parTrans" cxnId="{281B884A-039E-4331-BD14-CD91CCDC79AE}">
      <dgm:prSet/>
      <dgm:spPr/>
      <dgm:t>
        <a:bodyPr/>
        <a:lstStyle/>
        <a:p>
          <a:endParaRPr lang="fr-CA"/>
        </a:p>
      </dgm:t>
    </dgm:pt>
    <dgm:pt modelId="{656BD22C-54E1-4957-B510-14381AABC25A}" type="sibTrans" cxnId="{281B884A-039E-4331-BD14-CD91CCDC79AE}">
      <dgm:prSet/>
      <dgm:spPr/>
      <dgm:t>
        <a:bodyPr/>
        <a:lstStyle/>
        <a:p>
          <a:endParaRPr lang="fr-CA"/>
        </a:p>
      </dgm:t>
    </dgm:pt>
    <dgm:pt modelId="{503CDE31-6C94-4AF6-BA37-357CB4FCF3D5}">
      <dgm:prSet phldrT="[Texte]"/>
      <dgm:spPr/>
      <dgm:t>
        <a:bodyPr/>
        <a:lstStyle/>
        <a:p>
          <a:r>
            <a:rPr lang="fr-CA" dirty="0"/>
            <a:t>Being patient</a:t>
          </a:r>
        </a:p>
      </dgm:t>
    </dgm:pt>
    <dgm:pt modelId="{EBBA6678-5FEE-4709-AD45-20D956AFCB5D}" type="parTrans" cxnId="{9C1F7A21-2C64-4F5B-8BF5-8E4079D3DF89}">
      <dgm:prSet/>
      <dgm:spPr/>
      <dgm:t>
        <a:bodyPr/>
        <a:lstStyle/>
        <a:p>
          <a:endParaRPr lang="fr-CA"/>
        </a:p>
      </dgm:t>
    </dgm:pt>
    <dgm:pt modelId="{BC649F62-DD6F-4006-A49F-48DAE645CB1F}" type="sibTrans" cxnId="{9C1F7A21-2C64-4F5B-8BF5-8E4079D3DF89}">
      <dgm:prSet/>
      <dgm:spPr/>
      <dgm:t>
        <a:bodyPr/>
        <a:lstStyle/>
        <a:p>
          <a:endParaRPr lang="fr-CA"/>
        </a:p>
      </dgm:t>
    </dgm:pt>
    <dgm:pt modelId="{F78929D8-8ECE-4981-83EF-19868A10CCC6}" type="pres">
      <dgm:prSet presAssocID="{077695C5-09A0-458A-9F23-BC461F36518F}" presName="Name0" presStyleCnt="0">
        <dgm:presLayoutVars>
          <dgm:dir/>
          <dgm:resizeHandles val="exact"/>
        </dgm:presLayoutVars>
      </dgm:prSet>
      <dgm:spPr/>
    </dgm:pt>
    <dgm:pt modelId="{D3FEFB0D-C5D7-4E4A-938B-982AAD57A2FE}" type="pres">
      <dgm:prSet presAssocID="{077695C5-09A0-458A-9F23-BC461F36518F}" presName="fgShape" presStyleLbl="fgShp" presStyleIdx="0" presStyleCnt="1"/>
      <dgm:spPr/>
    </dgm:pt>
    <dgm:pt modelId="{DBF7EC8B-D3A9-4E02-BDCC-4CF6E60F26C3}" type="pres">
      <dgm:prSet presAssocID="{077695C5-09A0-458A-9F23-BC461F36518F}" presName="linComp" presStyleCnt="0"/>
      <dgm:spPr/>
    </dgm:pt>
    <dgm:pt modelId="{C470CBE6-8E92-49B3-BD8F-44B12A117CD2}" type="pres">
      <dgm:prSet presAssocID="{180EA75F-C16E-457B-B1E1-BC6DC220B65E}" presName="compNode" presStyleCnt="0"/>
      <dgm:spPr/>
    </dgm:pt>
    <dgm:pt modelId="{46F3DA37-3812-43D5-84A6-BF667E3F8262}" type="pres">
      <dgm:prSet presAssocID="{180EA75F-C16E-457B-B1E1-BC6DC220B65E}" presName="bkgdShape" presStyleLbl="node1" presStyleIdx="0" presStyleCnt="3" custLinFactNeighborX="-64" custLinFactNeighborY="-151"/>
      <dgm:spPr/>
    </dgm:pt>
    <dgm:pt modelId="{BFDF591F-5AED-471A-A592-C670FBF7F600}" type="pres">
      <dgm:prSet presAssocID="{180EA75F-C16E-457B-B1E1-BC6DC220B65E}" presName="nodeTx" presStyleLbl="node1" presStyleIdx="0" presStyleCnt="3">
        <dgm:presLayoutVars>
          <dgm:bulletEnabled val="1"/>
        </dgm:presLayoutVars>
      </dgm:prSet>
      <dgm:spPr/>
    </dgm:pt>
    <dgm:pt modelId="{1932AAD6-9520-4068-968B-B7AEFBBAF1E3}" type="pres">
      <dgm:prSet presAssocID="{180EA75F-C16E-457B-B1E1-BC6DC220B65E}" presName="invisiNode" presStyleLbl="node1" presStyleIdx="0" presStyleCnt="3"/>
      <dgm:spPr/>
    </dgm:pt>
    <dgm:pt modelId="{81BB578D-7A2F-4F30-ACD0-752EC5CCBE19}" type="pres">
      <dgm:prSet presAssocID="{180EA75F-C16E-457B-B1E1-BC6DC220B65E}"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Fiole avec un remplissage uni"/>
        </a:ext>
      </dgm:extLst>
    </dgm:pt>
    <dgm:pt modelId="{ADE1A769-2B37-4AD8-8F3F-147BB8741EAB}" type="pres">
      <dgm:prSet presAssocID="{6EDDA166-1BC3-4813-99CE-4A7638E414C2}" presName="sibTrans" presStyleLbl="sibTrans2D1" presStyleIdx="0" presStyleCnt="0"/>
      <dgm:spPr/>
    </dgm:pt>
    <dgm:pt modelId="{1EBB4078-53AC-4D62-9023-42C4EAE2977C}" type="pres">
      <dgm:prSet presAssocID="{B55B18AF-498A-4C75-A2DB-95C27E6147D2}" presName="compNode" presStyleCnt="0"/>
      <dgm:spPr/>
    </dgm:pt>
    <dgm:pt modelId="{E4695047-4360-4B00-8243-B3D50FFD1FBA}" type="pres">
      <dgm:prSet presAssocID="{B55B18AF-498A-4C75-A2DB-95C27E6147D2}" presName="bkgdShape" presStyleLbl="node1" presStyleIdx="1" presStyleCnt="3"/>
      <dgm:spPr/>
    </dgm:pt>
    <dgm:pt modelId="{7AF52DAB-137B-452A-868C-075687F15ECC}" type="pres">
      <dgm:prSet presAssocID="{B55B18AF-498A-4C75-A2DB-95C27E6147D2}" presName="nodeTx" presStyleLbl="node1" presStyleIdx="1" presStyleCnt="3">
        <dgm:presLayoutVars>
          <dgm:bulletEnabled val="1"/>
        </dgm:presLayoutVars>
      </dgm:prSet>
      <dgm:spPr/>
    </dgm:pt>
    <dgm:pt modelId="{84A6440F-53F1-4F83-A113-0FFF5D90D8FB}" type="pres">
      <dgm:prSet presAssocID="{B55B18AF-498A-4C75-A2DB-95C27E6147D2}" presName="invisiNode" presStyleLbl="node1" presStyleIdx="1" presStyleCnt="3"/>
      <dgm:spPr/>
    </dgm:pt>
    <dgm:pt modelId="{FE767839-528F-4BBA-8F4B-3F23142AC39F}" type="pres">
      <dgm:prSet presAssocID="{B55B18AF-498A-4C75-A2DB-95C27E6147D2}" presName="imagNode"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Utilisateurs avec un remplissage uni"/>
        </a:ext>
      </dgm:extLst>
    </dgm:pt>
    <dgm:pt modelId="{46AFA31C-31D6-4F69-AB75-645570D4ADC1}" type="pres">
      <dgm:prSet presAssocID="{656BD22C-54E1-4957-B510-14381AABC25A}" presName="sibTrans" presStyleLbl="sibTrans2D1" presStyleIdx="0" presStyleCnt="0"/>
      <dgm:spPr/>
    </dgm:pt>
    <dgm:pt modelId="{5C1C4EC6-753A-4C55-9A42-9945390EF036}" type="pres">
      <dgm:prSet presAssocID="{503CDE31-6C94-4AF6-BA37-357CB4FCF3D5}" presName="compNode" presStyleCnt="0"/>
      <dgm:spPr/>
    </dgm:pt>
    <dgm:pt modelId="{24ABF9DC-114F-4F94-98B7-FEB8D8F2ACC4}" type="pres">
      <dgm:prSet presAssocID="{503CDE31-6C94-4AF6-BA37-357CB4FCF3D5}" presName="bkgdShape" presStyleLbl="node1" presStyleIdx="2" presStyleCnt="3"/>
      <dgm:spPr/>
    </dgm:pt>
    <dgm:pt modelId="{D50470B7-CA67-45C6-8D3D-0CC49136ED21}" type="pres">
      <dgm:prSet presAssocID="{503CDE31-6C94-4AF6-BA37-357CB4FCF3D5}" presName="nodeTx" presStyleLbl="node1" presStyleIdx="2" presStyleCnt="3">
        <dgm:presLayoutVars>
          <dgm:bulletEnabled val="1"/>
        </dgm:presLayoutVars>
      </dgm:prSet>
      <dgm:spPr/>
    </dgm:pt>
    <dgm:pt modelId="{B696EF6F-A15D-4F00-9063-7011BCC75322}" type="pres">
      <dgm:prSet presAssocID="{503CDE31-6C94-4AF6-BA37-357CB4FCF3D5}" presName="invisiNode" presStyleLbl="node1" presStyleIdx="2" presStyleCnt="3"/>
      <dgm:spPr/>
    </dgm:pt>
    <dgm:pt modelId="{26131C5D-FBF2-44AD-B0A4-2DA01121DB5C}" type="pres">
      <dgm:prSet presAssocID="{503CDE31-6C94-4AF6-BA37-357CB4FCF3D5}" presName="imagNode" presStyleLbl="fgImgPlace1" presStyleIdx="2" presStyleCnt="3" custScaleX="100482" custScaleY="9931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éditation avec un remplissage uni"/>
        </a:ext>
      </dgm:extLst>
    </dgm:pt>
  </dgm:ptLst>
  <dgm:cxnLst>
    <dgm:cxn modelId="{60DE3308-CBDF-4D09-A239-7194355EAE95}" type="presOf" srcId="{B55B18AF-498A-4C75-A2DB-95C27E6147D2}" destId="{7AF52DAB-137B-452A-868C-075687F15ECC}" srcOrd="1" destOrd="0" presId="urn:microsoft.com/office/officeart/2005/8/layout/hList7"/>
    <dgm:cxn modelId="{9C1F7A21-2C64-4F5B-8BF5-8E4079D3DF89}" srcId="{077695C5-09A0-458A-9F23-BC461F36518F}" destId="{503CDE31-6C94-4AF6-BA37-357CB4FCF3D5}" srcOrd="2" destOrd="0" parTransId="{EBBA6678-5FEE-4709-AD45-20D956AFCB5D}" sibTransId="{BC649F62-DD6F-4006-A49F-48DAE645CB1F}"/>
    <dgm:cxn modelId="{873C6B32-C21A-4EC4-908B-1B6AC248D58C}" type="presOf" srcId="{B55B18AF-498A-4C75-A2DB-95C27E6147D2}" destId="{E4695047-4360-4B00-8243-B3D50FFD1FBA}" srcOrd="0" destOrd="0" presId="urn:microsoft.com/office/officeart/2005/8/layout/hList7"/>
    <dgm:cxn modelId="{7B856D35-40A4-425E-94E2-FC44CC5818A6}" type="presOf" srcId="{656BD22C-54E1-4957-B510-14381AABC25A}" destId="{46AFA31C-31D6-4F69-AB75-645570D4ADC1}" srcOrd="0" destOrd="0" presId="urn:microsoft.com/office/officeart/2005/8/layout/hList7"/>
    <dgm:cxn modelId="{2E236038-659C-4164-A141-B6EE52EFAE58}" type="presOf" srcId="{180EA75F-C16E-457B-B1E1-BC6DC220B65E}" destId="{46F3DA37-3812-43D5-84A6-BF667E3F8262}" srcOrd="0" destOrd="0" presId="urn:microsoft.com/office/officeart/2005/8/layout/hList7"/>
    <dgm:cxn modelId="{281B884A-039E-4331-BD14-CD91CCDC79AE}" srcId="{077695C5-09A0-458A-9F23-BC461F36518F}" destId="{B55B18AF-498A-4C75-A2DB-95C27E6147D2}" srcOrd="1" destOrd="0" parTransId="{EFC92D3E-1E70-4466-8C3D-E0575750A6DF}" sibTransId="{656BD22C-54E1-4957-B510-14381AABC25A}"/>
    <dgm:cxn modelId="{D3550D4B-1279-4044-9266-C25701B9E531}" type="presOf" srcId="{6EDDA166-1BC3-4813-99CE-4A7638E414C2}" destId="{ADE1A769-2B37-4AD8-8F3F-147BB8741EAB}" srcOrd="0" destOrd="0" presId="urn:microsoft.com/office/officeart/2005/8/layout/hList7"/>
    <dgm:cxn modelId="{419869A5-AADD-4407-9543-0FEF7306C31D}" type="presOf" srcId="{077695C5-09A0-458A-9F23-BC461F36518F}" destId="{F78929D8-8ECE-4981-83EF-19868A10CCC6}" srcOrd="0" destOrd="0" presId="urn:microsoft.com/office/officeart/2005/8/layout/hList7"/>
    <dgm:cxn modelId="{2243C3DF-F643-4CDF-A3B9-0B1CF76749D1}" type="presOf" srcId="{180EA75F-C16E-457B-B1E1-BC6DC220B65E}" destId="{BFDF591F-5AED-471A-A592-C670FBF7F600}" srcOrd="1" destOrd="0" presId="urn:microsoft.com/office/officeart/2005/8/layout/hList7"/>
    <dgm:cxn modelId="{4D12BAE5-F79F-4560-A6F4-B7EDD1AB6F01}" type="presOf" srcId="{503CDE31-6C94-4AF6-BA37-357CB4FCF3D5}" destId="{24ABF9DC-114F-4F94-98B7-FEB8D8F2ACC4}" srcOrd="0" destOrd="0" presId="urn:microsoft.com/office/officeart/2005/8/layout/hList7"/>
    <dgm:cxn modelId="{DD795CEA-9BA3-49FD-9649-AB50F702F8FF}" srcId="{077695C5-09A0-458A-9F23-BC461F36518F}" destId="{180EA75F-C16E-457B-B1E1-BC6DC220B65E}" srcOrd="0" destOrd="0" parTransId="{B80A7437-1EF5-4785-AEA6-EAA55DA51F4B}" sibTransId="{6EDDA166-1BC3-4813-99CE-4A7638E414C2}"/>
    <dgm:cxn modelId="{05E258FE-1B30-4BB8-9130-AEF07B6DDEA8}" type="presOf" srcId="{503CDE31-6C94-4AF6-BA37-357CB4FCF3D5}" destId="{D50470B7-CA67-45C6-8D3D-0CC49136ED21}" srcOrd="1" destOrd="0" presId="urn:microsoft.com/office/officeart/2005/8/layout/hList7"/>
    <dgm:cxn modelId="{4DE1FD78-BE73-4D2C-BE6B-7EB8515065BB}" type="presParOf" srcId="{F78929D8-8ECE-4981-83EF-19868A10CCC6}" destId="{D3FEFB0D-C5D7-4E4A-938B-982AAD57A2FE}" srcOrd="0" destOrd="0" presId="urn:microsoft.com/office/officeart/2005/8/layout/hList7"/>
    <dgm:cxn modelId="{A3FC21CF-19A1-448B-B4AC-C684037A0C82}" type="presParOf" srcId="{F78929D8-8ECE-4981-83EF-19868A10CCC6}" destId="{DBF7EC8B-D3A9-4E02-BDCC-4CF6E60F26C3}" srcOrd="1" destOrd="0" presId="urn:microsoft.com/office/officeart/2005/8/layout/hList7"/>
    <dgm:cxn modelId="{B938452E-86A1-407F-8AA3-64276596BFC5}" type="presParOf" srcId="{DBF7EC8B-D3A9-4E02-BDCC-4CF6E60F26C3}" destId="{C470CBE6-8E92-49B3-BD8F-44B12A117CD2}" srcOrd="0" destOrd="0" presId="urn:microsoft.com/office/officeart/2005/8/layout/hList7"/>
    <dgm:cxn modelId="{3B0D9127-5E70-4848-9982-D065AC8FA1A8}" type="presParOf" srcId="{C470CBE6-8E92-49B3-BD8F-44B12A117CD2}" destId="{46F3DA37-3812-43D5-84A6-BF667E3F8262}" srcOrd="0" destOrd="0" presId="urn:microsoft.com/office/officeart/2005/8/layout/hList7"/>
    <dgm:cxn modelId="{BC49EC44-8E72-4E2A-8279-ADDDF327DFE0}" type="presParOf" srcId="{C470CBE6-8E92-49B3-BD8F-44B12A117CD2}" destId="{BFDF591F-5AED-471A-A592-C670FBF7F600}" srcOrd="1" destOrd="0" presId="urn:microsoft.com/office/officeart/2005/8/layout/hList7"/>
    <dgm:cxn modelId="{D6333AD0-F7A6-4B56-88D2-803962D2AD7C}" type="presParOf" srcId="{C470CBE6-8E92-49B3-BD8F-44B12A117CD2}" destId="{1932AAD6-9520-4068-968B-B7AEFBBAF1E3}" srcOrd="2" destOrd="0" presId="urn:microsoft.com/office/officeart/2005/8/layout/hList7"/>
    <dgm:cxn modelId="{745F260F-AA08-448F-AC83-3F587A35881E}" type="presParOf" srcId="{C470CBE6-8E92-49B3-BD8F-44B12A117CD2}" destId="{81BB578D-7A2F-4F30-ACD0-752EC5CCBE19}" srcOrd="3" destOrd="0" presId="urn:microsoft.com/office/officeart/2005/8/layout/hList7"/>
    <dgm:cxn modelId="{25BE6C98-40D0-47DC-94EC-0637BB0AD62F}" type="presParOf" srcId="{DBF7EC8B-D3A9-4E02-BDCC-4CF6E60F26C3}" destId="{ADE1A769-2B37-4AD8-8F3F-147BB8741EAB}" srcOrd="1" destOrd="0" presId="urn:microsoft.com/office/officeart/2005/8/layout/hList7"/>
    <dgm:cxn modelId="{6002F478-0C17-4CF3-B385-74DA6BB1566B}" type="presParOf" srcId="{DBF7EC8B-D3A9-4E02-BDCC-4CF6E60F26C3}" destId="{1EBB4078-53AC-4D62-9023-42C4EAE2977C}" srcOrd="2" destOrd="0" presId="urn:microsoft.com/office/officeart/2005/8/layout/hList7"/>
    <dgm:cxn modelId="{400BC764-6BBF-4925-87E2-910A389788DD}" type="presParOf" srcId="{1EBB4078-53AC-4D62-9023-42C4EAE2977C}" destId="{E4695047-4360-4B00-8243-B3D50FFD1FBA}" srcOrd="0" destOrd="0" presId="urn:microsoft.com/office/officeart/2005/8/layout/hList7"/>
    <dgm:cxn modelId="{600A777F-82F1-4122-8688-BF260148F3AF}" type="presParOf" srcId="{1EBB4078-53AC-4D62-9023-42C4EAE2977C}" destId="{7AF52DAB-137B-452A-868C-075687F15ECC}" srcOrd="1" destOrd="0" presId="urn:microsoft.com/office/officeart/2005/8/layout/hList7"/>
    <dgm:cxn modelId="{3F373E25-9D66-4AE3-BC08-6F02FFC3C030}" type="presParOf" srcId="{1EBB4078-53AC-4D62-9023-42C4EAE2977C}" destId="{84A6440F-53F1-4F83-A113-0FFF5D90D8FB}" srcOrd="2" destOrd="0" presId="urn:microsoft.com/office/officeart/2005/8/layout/hList7"/>
    <dgm:cxn modelId="{2BA22C8C-96F2-4086-B174-E30EF8F5A570}" type="presParOf" srcId="{1EBB4078-53AC-4D62-9023-42C4EAE2977C}" destId="{FE767839-528F-4BBA-8F4B-3F23142AC39F}" srcOrd="3" destOrd="0" presId="urn:microsoft.com/office/officeart/2005/8/layout/hList7"/>
    <dgm:cxn modelId="{A4A90EF3-3359-4C01-AE8F-09B3B5AF7D39}" type="presParOf" srcId="{DBF7EC8B-D3A9-4E02-BDCC-4CF6E60F26C3}" destId="{46AFA31C-31D6-4F69-AB75-645570D4ADC1}" srcOrd="3" destOrd="0" presId="urn:microsoft.com/office/officeart/2005/8/layout/hList7"/>
    <dgm:cxn modelId="{DB173EFE-2AF0-420B-9801-C75DB967C8D7}" type="presParOf" srcId="{DBF7EC8B-D3A9-4E02-BDCC-4CF6E60F26C3}" destId="{5C1C4EC6-753A-4C55-9A42-9945390EF036}" srcOrd="4" destOrd="0" presId="urn:microsoft.com/office/officeart/2005/8/layout/hList7"/>
    <dgm:cxn modelId="{C52D0DFB-067C-40E5-81BF-18AB8FCB5832}" type="presParOf" srcId="{5C1C4EC6-753A-4C55-9A42-9945390EF036}" destId="{24ABF9DC-114F-4F94-98B7-FEB8D8F2ACC4}" srcOrd="0" destOrd="0" presId="urn:microsoft.com/office/officeart/2005/8/layout/hList7"/>
    <dgm:cxn modelId="{386B4E4B-F223-420E-B2C4-745E41EC109A}" type="presParOf" srcId="{5C1C4EC6-753A-4C55-9A42-9945390EF036}" destId="{D50470B7-CA67-45C6-8D3D-0CC49136ED21}" srcOrd="1" destOrd="0" presId="urn:microsoft.com/office/officeart/2005/8/layout/hList7"/>
    <dgm:cxn modelId="{6B4F7940-41F4-40C9-94E9-931AC1D7CE4E}" type="presParOf" srcId="{5C1C4EC6-753A-4C55-9A42-9945390EF036}" destId="{B696EF6F-A15D-4F00-9063-7011BCC75322}" srcOrd="2" destOrd="0" presId="urn:microsoft.com/office/officeart/2005/8/layout/hList7"/>
    <dgm:cxn modelId="{F1373E7F-1E1A-47FD-A8BA-C881D0C7025C}" type="presParOf" srcId="{5C1C4EC6-753A-4C55-9A42-9945390EF036}" destId="{26131C5D-FBF2-44AD-B0A4-2DA01121DB5C}"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E007CC-E62E-4C76-8653-AE2AA6178208}">
      <dsp:nvSpPr>
        <dsp:cNvPr id="0" name=""/>
        <dsp:cNvSpPr/>
      </dsp:nvSpPr>
      <dsp:spPr>
        <a:xfrm>
          <a:off x="0" y="0"/>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CA" sz="2600" kern="1200" noProof="0" dirty="0"/>
            <a:t>Offering a space better suited to our tasks</a:t>
          </a:r>
        </a:p>
        <a:p>
          <a:pPr marL="228600" lvl="1" indent="-228600" algn="l" defTabSz="889000">
            <a:lnSpc>
              <a:spcPct val="90000"/>
            </a:lnSpc>
            <a:spcBef>
              <a:spcPct val="0"/>
            </a:spcBef>
            <a:spcAft>
              <a:spcPct val="15000"/>
            </a:spcAft>
            <a:buChar char="•"/>
          </a:pPr>
          <a:r>
            <a:rPr lang="en-CA" sz="2000" kern="1200" noProof="0" dirty="0"/>
            <a:t>Ensuring the office facilitates in-person collaboration</a:t>
          </a:r>
        </a:p>
        <a:p>
          <a:pPr marL="228600" lvl="1" indent="-228600" algn="l" defTabSz="889000">
            <a:lnSpc>
              <a:spcPct val="90000"/>
            </a:lnSpc>
            <a:spcBef>
              <a:spcPct val="0"/>
            </a:spcBef>
            <a:spcAft>
              <a:spcPct val="15000"/>
            </a:spcAft>
            <a:buChar char="•"/>
          </a:pPr>
          <a:r>
            <a:rPr lang="en-CA" sz="2000" kern="1200" noProof="0" dirty="0"/>
            <a:t>Offering quiet spaces for individual tasks</a:t>
          </a:r>
        </a:p>
      </dsp:txBody>
      <dsp:txXfrm>
        <a:off x="2221882" y="0"/>
        <a:ext cx="8223832" cy="1327396"/>
      </dsp:txXfrm>
    </dsp:sp>
    <dsp:sp modelId="{B95AE615-A300-40D4-A5F1-F981768E8B3A}">
      <dsp:nvSpPr>
        <dsp:cNvPr id="0" name=""/>
        <dsp:cNvSpPr/>
      </dsp:nvSpPr>
      <dsp:spPr>
        <a:xfrm>
          <a:off x="581132" y="349408"/>
          <a:ext cx="1061493" cy="628580"/>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9000" b="-29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457552D-75A1-4799-A6E8-A49F088A3AC3}">
      <dsp:nvSpPr>
        <dsp:cNvPr id="0" name=""/>
        <dsp:cNvSpPr/>
      </dsp:nvSpPr>
      <dsp:spPr>
        <a:xfrm>
          <a:off x="0" y="1460136"/>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CA" sz="2600" kern="1200" noProof="0" dirty="0"/>
            <a:t>Promoting accessibility and inclusion</a:t>
          </a:r>
        </a:p>
        <a:p>
          <a:pPr marL="228600" lvl="1" indent="-228600" algn="l" defTabSz="889000">
            <a:lnSpc>
              <a:spcPct val="90000"/>
            </a:lnSpc>
            <a:spcBef>
              <a:spcPct val="0"/>
            </a:spcBef>
            <a:spcAft>
              <a:spcPct val="15000"/>
            </a:spcAft>
            <a:buChar char="•"/>
          </a:pPr>
          <a:r>
            <a:rPr lang="en-CA" sz="2000" kern="1200" noProof="0" dirty="0"/>
            <a:t>Improving workstation ergonomics</a:t>
          </a:r>
        </a:p>
        <a:p>
          <a:pPr marL="228600" lvl="1" indent="-228600" algn="l" defTabSz="889000">
            <a:lnSpc>
              <a:spcPct val="90000"/>
            </a:lnSpc>
            <a:spcBef>
              <a:spcPct val="0"/>
            </a:spcBef>
            <a:spcAft>
              <a:spcPct val="15000"/>
            </a:spcAft>
            <a:buChar char="•"/>
          </a:pPr>
          <a:r>
            <a:rPr lang="en-CA" sz="2000" kern="1200" noProof="0" dirty="0"/>
            <a:t>Offering more options</a:t>
          </a:r>
        </a:p>
      </dsp:txBody>
      <dsp:txXfrm>
        <a:off x="2221882" y="1460136"/>
        <a:ext cx="8223832" cy="1327396"/>
      </dsp:txXfrm>
    </dsp:sp>
    <dsp:sp modelId="{FDACB6A6-4368-4805-BEE7-9B6F9B3B3470}">
      <dsp:nvSpPr>
        <dsp:cNvPr id="0" name=""/>
        <dsp:cNvSpPr/>
      </dsp:nvSpPr>
      <dsp:spPr>
        <a:xfrm>
          <a:off x="593145" y="1589127"/>
          <a:ext cx="992092" cy="1037217"/>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66D2A5C-93CF-454D-88DD-BC470F0CA08E}">
      <dsp:nvSpPr>
        <dsp:cNvPr id="0" name=""/>
        <dsp:cNvSpPr/>
      </dsp:nvSpPr>
      <dsp:spPr>
        <a:xfrm>
          <a:off x="0" y="2920273"/>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CA" sz="2600" kern="1200" noProof="0" dirty="0"/>
            <a:t>Improving the workplace experience</a:t>
          </a:r>
        </a:p>
        <a:p>
          <a:pPr marL="228600" lvl="1" indent="-228600" algn="l" defTabSz="889000">
            <a:lnSpc>
              <a:spcPct val="90000"/>
            </a:lnSpc>
            <a:spcBef>
              <a:spcPct val="0"/>
            </a:spcBef>
            <a:spcAft>
              <a:spcPct val="15000"/>
            </a:spcAft>
            <a:buChar char="•"/>
          </a:pPr>
          <a:r>
            <a:rPr lang="en-CA" sz="2000" kern="1200" noProof="0" dirty="0"/>
            <a:t>Ensure that everyone get something out of it</a:t>
          </a:r>
        </a:p>
      </dsp:txBody>
      <dsp:txXfrm>
        <a:off x="2221882" y="2920273"/>
        <a:ext cx="8223832" cy="1327396"/>
      </dsp:txXfrm>
    </dsp:sp>
    <dsp:sp modelId="{10B0BF81-7F94-4DC6-9B57-BB0FFE3EFD0E}">
      <dsp:nvSpPr>
        <dsp:cNvPr id="0" name=""/>
        <dsp:cNvSpPr/>
      </dsp:nvSpPr>
      <dsp:spPr>
        <a:xfrm>
          <a:off x="577016" y="3055025"/>
          <a:ext cx="982482" cy="900983"/>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F3DA37-3812-43D5-84A6-BF667E3F8262}">
      <dsp:nvSpPr>
        <dsp:cNvPr id="0" name=""/>
        <dsp:cNvSpPr/>
      </dsp:nvSpPr>
      <dsp:spPr>
        <a:xfrm>
          <a:off x="7" y="0"/>
          <a:ext cx="2807837" cy="4610866"/>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fr-CA" sz="3400" kern="1200" dirty="0"/>
            <a:t>Experiment</a:t>
          </a:r>
        </a:p>
      </dsp:txBody>
      <dsp:txXfrm>
        <a:off x="7" y="1844346"/>
        <a:ext cx="2807837" cy="1844346"/>
      </dsp:txXfrm>
    </dsp:sp>
    <dsp:sp modelId="{81BB578D-7A2F-4F30-ACD0-752EC5CCBE19}">
      <dsp:nvSpPr>
        <dsp:cNvPr id="0" name=""/>
        <dsp:cNvSpPr/>
      </dsp:nvSpPr>
      <dsp:spPr>
        <a:xfrm>
          <a:off x="638014" y="276651"/>
          <a:ext cx="1535418" cy="1535418"/>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E4695047-4360-4B00-8243-B3D50FFD1FBA}">
      <dsp:nvSpPr>
        <dsp:cNvPr id="0" name=""/>
        <dsp:cNvSpPr/>
      </dsp:nvSpPr>
      <dsp:spPr>
        <a:xfrm>
          <a:off x="2893876" y="0"/>
          <a:ext cx="2807837" cy="4610866"/>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fr-CA" sz="3400" kern="1200" dirty="0"/>
            <a:t>Thinking of others</a:t>
          </a:r>
        </a:p>
      </dsp:txBody>
      <dsp:txXfrm>
        <a:off x="2893876" y="1844346"/>
        <a:ext cx="2807837" cy="1844346"/>
      </dsp:txXfrm>
    </dsp:sp>
    <dsp:sp modelId="{FE767839-528F-4BBA-8F4B-3F23142AC39F}">
      <dsp:nvSpPr>
        <dsp:cNvPr id="0" name=""/>
        <dsp:cNvSpPr/>
      </dsp:nvSpPr>
      <dsp:spPr>
        <a:xfrm>
          <a:off x="3530086" y="276651"/>
          <a:ext cx="1535418" cy="1535418"/>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24ABF9DC-114F-4F94-98B7-FEB8D8F2ACC4}">
      <dsp:nvSpPr>
        <dsp:cNvPr id="0" name=""/>
        <dsp:cNvSpPr/>
      </dsp:nvSpPr>
      <dsp:spPr>
        <a:xfrm>
          <a:off x="5785949" y="0"/>
          <a:ext cx="2807837" cy="4610866"/>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fr-CA" sz="3400" kern="1200" dirty="0"/>
            <a:t>Being patient</a:t>
          </a:r>
        </a:p>
      </dsp:txBody>
      <dsp:txXfrm>
        <a:off x="5785949" y="1844346"/>
        <a:ext cx="2807837" cy="1844346"/>
      </dsp:txXfrm>
    </dsp:sp>
    <dsp:sp modelId="{26131C5D-FBF2-44AD-B0A4-2DA01121DB5C}">
      <dsp:nvSpPr>
        <dsp:cNvPr id="0" name=""/>
        <dsp:cNvSpPr/>
      </dsp:nvSpPr>
      <dsp:spPr>
        <a:xfrm>
          <a:off x="6418458" y="281895"/>
          <a:ext cx="1542819" cy="1524931"/>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D3FEFB0D-C5D7-4E4A-938B-982AAD57A2FE}">
      <dsp:nvSpPr>
        <dsp:cNvPr id="0" name=""/>
        <dsp:cNvSpPr/>
      </dsp:nvSpPr>
      <dsp:spPr>
        <a:xfrm>
          <a:off x="343823" y="3688692"/>
          <a:ext cx="7907943" cy="691629"/>
        </a:xfrm>
        <a:prstGeom prst="leftRightArrow">
          <a:avLst/>
        </a:prstGeom>
        <a:gradFill rotWithShape="0">
          <a:gsLst>
            <a:gs pos="0">
              <a:schemeClr val="accent2">
                <a:tint val="40000"/>
                <a:hueOff val="0"/>
                <a:satOff val="0"/>
                <a:lumOff val="0"/>
                <a:alphaOff val="0"/>
                <a:satMod val="103000"/>
                <a:lumMod val="102000"/>
                <a:tint val="94000"/>
              </a:schemeClr>
            </a:gs>
            <a:gs pos="50000">
              <a:schemeClr val="accent2">
                <a:tint val="40000"/>
                <a:hueOff val="0"/>
                <a:satOff val="0"/>
                <a:lumOff val="0"/>
                <a:alphaOff val="0"/>
                <a:satMod val="110000"/>
                <a:lumMod val="100000"/>
                <a:shade val="100000"/>
              </a:schemeClr>
            </a:gs>
            <a:gs pos="100000">
              <a:schemeClr val="accent2">
                <a:tint val="4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14/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1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Here are some examples of preferred activities in a quiet area:</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Work on files or answer e-mails.</a:t>
            </a: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Take a course where all you have to do is listen.</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Attend virtual meetings in which you don't have to intervene.</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Activities to avoid in a quiet area </a:t>
            </a:r>
            <a:r>
              <a:rPr lang="fr-CA" sz="1800" dirty="0" err="1">
                <a:effectLst/>
                <a:latin typeface="Calibri Light" panose="020F0302020204030204" pitchFamily="34" charset="0"/>
                <a:ea typeface="Calibri" panose="020F0502020204030204" pitchFamily="34" charset="0"/>
                <a:cs typeface="Calibri" panose="020F0502020204030204" pitchFamily="34" charset="0"/>
              </a:rPr>
              <a:t>include</a:t>
            </a:r>
            <a:r>
              <a:rPr lang="fr-CA" sz="1800" dirty="0">
                <a:effectLst/>
                <a:latin typeface="Calibri Light" panose="020F0302020204030204" pitchFamily="34" charset="0"/>
                <a:ea typeface="Calibri" panose="020F0502020204030204" pitchFamily="34" charset="0"/>
                <a:cs typeface="Calibri" panose="020F0502020204030204" pitchFamily="34" charset="0"/>
              </a:rPr>
              <a:t>:</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Take a phone call or Teams in which you will have to intervene frequently.</a:t>
            </a: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Extended conversations with colleagues.</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If you're working in a quiet area and you receive a call or need to chat with a colleague for more than </a:t>
            </a:r>
            <a:r>
              <a:rPr lang="fr-CA" sz="1800" b="1" dirty="0">
                <a:effectLst/>
                <a:latin typeface="Calibri Light" panose="020F0302020204030204" pitchFamily="34" charset="0"/>
                <a:ea typeface="Calibri" panose="020F0502020204030204" pitchFamily="34" charset="0"/>
                <a:cs typeface="Calibri" panose="020F0502020204030204" pitchFamily="34" charset="0"/>
              </a:rPr>
              <a:t>a few minutes</a:t>
            </a:r>
            <a:r>
              <a:rPr lang="fr-CA" sz="1800" dirty="0">
                <a:effectLst/>
                <a:latin typeface="Calibri Light" panose="020F0302020204030204" pitchFamily="34" charset="0"/>
                <a:ea typeface="Calibri" panose="020F0502020204030204" pitchFamily="34" charset="0"/>
                <a:cs typeface="Calibri" panose="020F0502020204030204" pitchFamily="34" charset="0"/>
              </a:rPr>
              <a:t>, you need to </a:t>
            </a:r>
            <a:r>
              <a:rPr lang="fr-CA" sz="1800" b="1" dirty="0">
                <a:effectLst/>
                <a:latin typeface="Calibri Light" panose="020F0302020204030204" pitchFamily="34" charset="0"/>
                <a:ea typeface="Calibri" panose="020F0502020204030204" pitchFamily="34" charset="0"/>
                <a:cs typeface="Calibri" panose="020F0502020204030204" pitchFamily="34" charset="0"/>
              </a:rPr>
              <a:t>move </a:t>
            </a:r>
            <a:r>
              <a:rPr lang="fr-CA" sz="1800" dirty="0">
                <a:effectLst/>
                <a:latin typeface="Calibri Light" panose="020F0302020204030204" pitchFamily="34" charset="0"/>
                <a:ea typeface="Calibri" panose="020F0502020204030204" pitchFamily="34" charset="0"/>
                <a:cs typeface="Calibri" panose="020F0502020204030204" pitchFamily="34" charset="0"/>
              </a:rPr>
              <a:t>to respect your colleagues who have chosen this location for its tranquility.</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782940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881255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noProof="0" dirty="0"/>
              <a:t>Experimenting:</a:t>
            </a:r>
          </a:p>
          <a:p>
            <a:r>
              <a:rPr lang="en-CA" noProof="0" dirty="0"/>
              <a:t>We ask you to be open and start by trying it out, putting it to the test, and then giving us your feedback.</a:t>
            </a:r>
          </a:p>
          <a:p>
            <a:r>
              <a:rPr lang="en-CA" noProof="0" dirty="0"/>
              <a:t>Many of you are probably listing the reasons why these ways of doing things don't work for you. </a:t>
            </a:r>
          </a:p>
          <a:p>
            <a:r>
              <a:rPr lang="en-CA" noProof="0" dirty="0"/>
              <a:t>We understand that these are important changes that are probably in addition to other changes you are experiencing.</a:t>
            </a:r>
          </a:p>
          <a:p>
            <a:r>
              <a:rPr lang="en-CA" noProof="0" dirty="0"/>
              <a:t>As mentioned above, we aim to improve your workplace experience. To do this, we ask you to come and try out the space, then come back to us with your feedback. There are some flexible elements to what we'll be putting in place.</a:t>
            </a:r>
          </a:p>
          <a:p>
            <a:r>
              <a:rPr lang="en-CA" noProof="0" dirty="0"/>
              <a:t>For example: if there's a lot of collaboration and exchange on your floor, we may need to adjust the size of the quiet zone if it's too big.  </a:t>
            </a:r>
          </a:p>
          <a:p>
            <a:endParaRPr lang="en-CA" noProof="0" dirty="0"/>
          </a:p>
          <a:p>
            <a:r>
              <a:rPr lang="en-CA" noProof="0" dirty="0"/>
              <a:t>Thinking of others: </a:t>
            </a:r>
          </a:p>
          <a:p>
            <a:r>
              <a:rPr lang="en-CA" noProof="0" dirty="0"/>
              <a:t>Obviously, when we make the transition to shared spaces, the word shared says it all: we have to think of the people around us first, but also of the next person who will use or want to use the workstation we're in.</a:t>
            </a:r>
          </a:p>
          <a:p>
            <a:r>
              <a:rPr lang="en-CA" noProof="0" dirty="0"/>
              <a:t>We're talking about cleanliness, noise and odors, but also about using the reservation tool properly, respecting room schedules and so on. As the project progresses, we'll be talking to you about community norms, and providing you with the guides you need to get used to the new ways of doing things and living together.</a:t>
            </a:r>
          </a:p>
          <a:p>
            <a:endParaRPr lang="en-CA" noProof="0" dirty="0"/>
          </a:p>
          <a:p>
            <a:r>
              <a:rPr lang="en-CA" noProof="0" dirty="0"/>
              <a:t>Finally: not everything will be perfect right from the start. We're all going to have to be patient and tolerant while we get used to our new normal.</a:t>
            </a:r>
          </a:p>
          <a:p>
            <a:endParaRPr lang="fr-CA" dirty="0"/>
          </a:p>
          <a:p>
            <a:endParaRPr lang="fr-CA" dirty="0"/>
          </a:p>
          <a:p>
            <a:endParaRPr lang="fr-CA" dirty="0"/>
          </a:p>
          <a:p>
            <a:endParaRPr lang="fr-CA" dirty="0"/>
          </a:p>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2931673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1965149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2020721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4119599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049587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CA" sz="1200" noProof="0" dirty="0">
                <a:latin typeface="Avenir Next LT Pro"/>
              </a:rPr>
              <a:t>Budget 2024 indicates that the government is beginning a 50% reduction in </a:t>
            </a:r>
            <a:r>
              <a:rPr lang="en-CA" dirty="0">
                <a:latin typeface="Avenir Next LT Pro"/>
              </a:rPr>
              <a:t>office</a:t>
            </a:r>
            <a:r>
              <a:rPr lang="en-CA" sz="1200" noProof="0" dirty="0">
                <a:latin typeface="Avenir Next LT Pro"/>
              </a:rPr>
              <a:t> buildings, spread over the next 10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noProof="0" dirty="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noProof="0" dirty="0">
                <a:latin typeface="Avenir Next LT Pro" panose="020B0504020202020204" pitchFamily="34" charset="0"/>
              </a:rPr>
              <a:t>This measure represents sound management of public resources, but it also aims to respond to the housing crisis. Surplus properties will be assessed with a view to returning them to Canadians for housing and other community priorities.</a:t>
            </a:r>
          </a:p>
          <a:p>
            <a:endParaRPr lang="en-CA" noProof="0" dirty="0"/>
          </a:p>
          <a:p>
            <a:r>
              <a:rPr lang="en-CA" noProof="0" dirty="0"/>
              <a:t>The government is therefore aiming to free up vacant and underutilized space. Departments and agencies should therefore adopt a hybrid working model if they haven't already done so, and make the transition to unassigned workstations. </a:t>
            </a:r>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305660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4253023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noProof="0" dirty="0"/>
              <a:t>Here are a few points to consider in your speaking notes</a:t>
            </a:r>
          </a:p>
          <a:p>
            <a:endParaRPr lang="en-CA" noProof="0" dirty="0"/>
          </a:p>
          <a:p>
            <a:r>
              <a:rPr lang="en-CA" noProof="0" dirty="0"/>
              <a:t>Offer a space better suited to our tasks:</a:t>
            </a:r>
          </a:p>
          <a:p>
            <a:pPr marL="171450" indent="-171450">
              <a:buFontTx/>
              <a:buChar char="-"/>
            </a:pPr>
            <a:r>
              <a:rPr lang="en-CA" noProof="0" dirty="0"/>
              <a:t>Recognize that you need to take more calls than before.</a:t>
            </a:r>
          </a:p>
          <a:p>
            <a:pPr marL="171450" indent="-171450">
              <a:buFontTx/>
              <a:buChar char="-"/>
            </a:pPr>
            <a:r>
              <a:rPr lang="en-CA" noProof="0" dirty="0"/>
              <a:t>Give examples of what you observe in your organization. For example, several people are in Teams meetings at their desks rather than together in a room.</a:t>
            </a:r>
          </a:p>
          <a:p>
            <a:pPr marL="171450" indent="-171450">
              <a:buFontTx/>
              <a:buChar char="-"/>
            </a:pPr>
            <a:r>
              <a:rPr lang="en-CA" noProof="0" dirty="0"/>
              <a:t>We can't assume that people go to the office to collaborate. Many do work at their work point all day long. So there needs to be a balance between space where you can concentrate and space where you can work as a team.</a:t>
            </a:r>
          </a:p>
          <a:p>
            <a:pPr marL="171450" indent="-171450">
              <a:buFontTx/>
              <a:buChar char="-"/>
            </a:pPr>
            <a:endParaRPr lang="en-CA" noProof="0" dirty="0"/>
          </a:p>
          <a:p>
            <a:pPr marL="0" indent="0">
              <a:buFontTx/>
              <a:buNone/>
            </a:pPr>
            <a:r>
              <a:rPr lang="en-CA" noProof="0" dirty="0"/>
              <a:t>Promoting accessibility and inclusion:</a:t>
            </a:r>
          </a:p>
          <a:p>
            <a:pPr marL="171450" indent="-171450">
              <a:buFontTx/>
              <a:buChar char="-"/>
            </a:pPr>
            <a:r>
              <a:rPr lang="en-CA" noProof="0" dirty="0"/>
              <a:t>Giving more access to rooms offers more options for people who, for example, live with hypersensitivity.</a:t>
            </a:r>
          </a:p>
          <a:p>
            <a:pPr marL="171450" indent="-171450">
              <a:buFontTx/>
              <a:buChar char="-"/>
            </a:pPr>
            <a:r>
              <a:rPr lang="en-CA" noProof="0" dirty="0"/>
              <a:t>Indicate whether ergonomic furniture will be provided at each or a portion of the workstations.</a:t>
            </a:r>
          </a:p>
          <a:p>
            <a:pPr marL="171450" indent="-171450">
              <a:buFontTx/>
              <a:buChar char="-"/>
            </a:pPr>
            <a:r>
              <a:rPr lang="en-CA" noProof="0" dirty="0"/>
              <a:t>Remember that accommodation obligations continue to be dealt with on a case-by-case basis.</a:t>
            </a:r>
          </a:p>
          <a:p>
            <a:pPr marL="171450" indent="-171450">
              <a:buFontTx/>
              <a:buChar char="-"/>
            </a:pPr>
            <a:endParaRPr lang="en-CA" noProof="0" dirty="0"/>
          </a:p>
          <a:p>
            <a:pPr marL="0" indent="0">
              <a:buFontTx/>
              <a:buNone/>
            </a:pPr>
            <a:r>
              <a:rPr lang="en-CA" noProof="0" dirty="0"/>
              <a:t>Focus on improving the workplace experience:</a:t>
            </a:r>
          </a:p>
          <a:p>
            <a:pPr marL="0" indent="0">
              <a:buFontTx/>
              <a:buNone/>
            </a:pPr>
            <a:r>
              <a:rPr lang="en-CA" noProof="0" dirty="0"/>
              <a:t>We all have different needs and expectations when it comes to the workplace, and we believe that an unassigned shift model can offer different options so that there's something for everyone when you come into the office.</a:t>
            </a:r>
          </a:p>
          <a:p>
            <a:pPr marL="0" indent="0">
              <a:buFontTx/>
              <a:buNone/>
            </a:pP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257618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475004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Needs and preferences may be related to tasks (e.g. the need for two monitors) or to personal preferences: a workstation in a cooler area, or closer to the coffee machine!</a:t>
            </a:r>
          </a:p>
          <a:p>
            <a:endParaRPr lang="fr-CA" noProof="0" dirty="0"/>
          </a:p>
          <a:p>
            <a:r>
              <a:rPr lang="fr-CA" noProof="0" dirty="0"/>
              <a:t>Please note that booking applications are only used to manage capacity, so that everyone is guaranteed a spot to work. It is not used to check office attendance.</a:t>
            </a:r>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14363236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a:extLst>
              <a:ext uri="{28A0092B-C50C-407E-A947-70E740481C1C}">
                <a14:useLocalDpi xmlns:a14="http://schemas.microsoft.com/office/drawing/2010/main" val="0"/>
              </a:ext>
            </a:extLst>
          </a:blip>
          <a:srcRect/>
          <a:stretch/>
        </p:blipFill>
        <p:spPr>
          <a:xfrm>
            <a:off x="815152" y="6402831"/>
            <a:ext cx="1855496" cy="229331"/>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10.xml"/><Relationship Id="rId7" Type="http://schemas.openxmlformats.org/officeDocument/2006/relationships/slideLayout" Target="../slideLayouts/slideLayout1.xml"/><Relationship Id="rId12" Type="http://schemas.openxmlformats.org/officeDocument/2006/relationships/image" Target="../media/image6.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5.png"/><Relationship Id="rId5" Type="http://schemas.openxmlformats.org/officeDocument/2006/relationships/tags" Target="../tags/tag12.xml"/><Relationship Id="rId10" Type="http://schemas.openxmlformats.org/officeDocument/2006/relationships/image" Target="../media/image1.emf"/><Relationship Id="rId4" Type="http://schemas.openxmlformats.org/officeDocument/2006/relationships/tags" Target="../tags/tag11.xml"/><Relationship Id="rId9"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21.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image" Target="../media/image5.png"/><Relationship Id="rId5" Type="http://schemas.openxmlformats.org/officeDocument/2006/relationships/tags" Target="../tags/tag74.xml"/><Relationship Id="rId10" Type="http://schemas.openxmlformats.org/officeDocument/2006/relationships/notesSlide" Target="../notesSlides/notesSlide10.xml"/><Relationship Id="rId4" Type="http://schemas.openxmlformats.org/officeDocument/2006/relationships/tags" Target="../tags/tag73.xml"/><Relationship Id="rId9"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5.png"/><Relationship Id="rId4" Type="http://schemas.openxmlformats.org/officeDocument/2006/relationships/tags" Target="../tags/tag81.xml"/><Relationship Id="rId9"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87.xml"/><Relationship Id="rId7" Type="http://schemas.openxmlformats.org/officeDocument/2006/relationships/image" Target="../media/image5.png"/><Relationship Id="rId12" Type="http://schemas.microsoft.com/office/2007/relationships/diagramDrawing" Target="../diagrams/drawing2.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notesSlide" Target="../notesSlides/notesSlide12.xml"/><Relationship Id="rId11" Type="http://schemas.openxmlformats.org/officeDocument/2006/relationships/diagramColors" Target="../diagrams/colors2.xml"/><Relationship Id="rId5" Type="http://schemas.openxmlformats.org/officeDocument/2006/relationships/slideLayout" Target="../slideLayouts/slideLayout14.xml"/><Relationship Id="rId10" Type="http://schemas.openxmlformats.org/officeDocument/2006/relationships/diagramQuickStyle" Target="../diagrams/quickStyle2.xml"/><Relationship Id="rId4" Type="http://schemas.openxmlformats.org/officeDocument/2006/relationships/tags" Target="../tags/tag88.xml"/><Relationship Id="rId9"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9" Type="http://schemas.openxmlformats.org/officeDocument/2006/relationships/tags" Target="../tags/tag127.xml"/><Relationship Id="rId21" Type="http://schemas.openxmlformats.org/officeDocument/2006/relationships/tags" Target="../tags/tag109.xml"/><Relationship Id="rId34" Type="http://schemas.openxmlformats.org/officeDocument/2006/relationships/tags" Target="../tags/tag122.xml"/><Relationship Id="rId42" Type="http://schemas.openxmlformats.org/officeDocument/2006/relationships/tags" Target="../tags/tag130.xml"/><Relationship Id="rId47" Type="http://schemas.openxmlformats.org/officeDocument/2006/relationships/tags" Target="../tags/tag135.xml"/><Relationship Id="rId50" Type="http://schemas.openxmlformats.org/officeDocument/2006/relationships/tags" Target="../tags/tag138.xml"/><Relationship Id="rId55" Type="http://schemas.openxmlformats.org/officeDocument/2006/relationships/tags" Target="../tags/tag143.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33" Type="http://schemas.openxmlformats.org/officeDocument/2006/relationships/tags" Target="../tags/tag121.xml"/><Relationship Id="rId38" Type="http://schemas.openxmlformats.org/officeDocument/2006/relationships/tags" Target="../tags/tag126.xml"/><Relationship Id="rId46" Type="http://schemas.openxmlformats.org/officeDocument/2006/relationships/tags" Target="../tags/tag134.xml"/><Relationship Id="rId59" Type="http://schemas.openxmlformats.org/officeDocument/2006/relationships/image" Target="../media/image5.png"/><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tags" Target="../tags/tag117.xml"/><Relationship Id="rId41" Type="http://schemas.openxmlformats.org/officeDocument/2006/relationships/tags" Target="../tags/tag129.xml"/><Relationship Id="rId54" Type="http://schemas.openxmlformats.org/officeDocument/2006/relationships/tags" Target="../tags/tag142.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tags" Target="../tags/tag112.xml"/><Relationship Id="rId32" Type="http://schemas.openxmlformats.org/officeDocument/2006/relationships/tags" Target="../tags/tag120.xml"/><Relationship Id="rId37" Type="http://schemas.openxmlformats.org/officeDocument/2006/relationships/tags" Target="../tags/tag125.xml"/><Relationship Id="rId40" Type="http://schemas.openxmlformats.org/officeDocument/2006/relationships/tags" Target="../tags/tag128.xml"/><Relationship Id="rId45" Type="http://schemas.openxmlformats.org/officeDocument/2006/relationships/tags" Target="../tags/tag133.xml"/><Relationship Id="rId53" Type="http://schemas.openxmlformats.org/officeDocument/2006/relationships/tags" Target="../tags/tag141.xml"/><Relationship Id="rId58" Type="http://schemas.openxmlformats.org/officeDocument/2006/relationships/notesSlide" Target="../notesSlides/notesSlide13.xml"/><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tags" Target="../tags/tag116.xml"/><Relationship Id="rId36" Type="http://schemas.openxmlformats.org/officeDocument/2006/relationships/tags" Target="../tags/tag124.xml"/><Relationship Id="rId49" Type="http://schemas.openxmlformats.org/officeDocument/2006/relationships/tags" Target="../tags/tag137.xml"/><Relationship Id="rId57" Type="http://schemas.openxmlformats.org/officeDocument/2006/relationships/slideLayout" Target="../slideLayouts/slideLayout14.xml"/><Relationship Id="rId10" Type="http://schemas.openxmlformats.org/officeDocument/2006/relationships/tags" Target="../tags/tag98.xml"/><Relationship Id="rId19" Type="http://schemas.openxmlformats.org/officeDocument/2006/relationships/tags" Target="../tags/tag107.xml"/><Relationship Id="rId31" Type="http://schemas.openxmlformats.org/officeDocument/2006/relationships/tags" Target="../tags/tag119.xml"/><Relationship Id="rId44" Type="http://schemas.openxmlformats.org/officeDocument/2006/relationships/tags" Target="../tags/tag132.xml"/><Relationship Id="rId52" Type="http://schemas.openxmlformats.org/officeDocument/2006/relationships/tags" Target="../tags/tag140.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tags" Target="../tags/tag118.xml"/><Relationship Id="rId35" Type="http://schemas.openxmlformats.org/officeDocument/2006/relationships/tags" Target="../tags/tag123.xml"/><Relationship Id="rId43" Type="http://schemas.openxmlformats.org/officeDocument/2006/relationships/tags" Target="../tags/tag131.xml"/><Relationship Id="rId48" Type="http://schemas.openxmlformats.org/officeDocument/2006/relationships/tags" Target="../tags/tag136.xml"/><Relationship Id="rId56" Type="http://schemas.openxmlformats.org/officeDocument/2006/relationships/tags" Target="../tags/tag144.xml"/><Relationship Id="rId8" Type="http://schemas.openxmlformats.org/officeDocument/2006/relationships/tags" Target="../tags/tag96.xml"/><Relationship Id="rId51" Type="http://schemas.openxmlformats.org/officeDocument/2006/relationships/tags" Target="../tags/tag139.xml"/><Relationship Id="rId3" Type="http://schemas.openxmlformats.org/officeDocument/2006/relationships/tags" Target="../tags/tag91.xml"/></Relationships>
</file>

<file path=ppt/slides/_rels/slide14.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5.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notesSlide" Target="../notesSlides/notesSlide14.xml"/><Relationship Id="rId5" Type="http://schemas.openxmlformats.org/officeDocument/2006/relationships/slideLayout" Target="../slideLayouts/slideLayout14.xml"/><Relationship Id="rId4" Type="http://schemas.openxmlformats.org/officeDocument/2006/relationships/tags" Target="../tags/tag148.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30.png"/><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image" Target="../media/image29.sv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28.png"/><Relationship Id="rId5" Type="http://schemas.openxmlformats.org/officeDocument/2006/relationships/tags" Target="../tags/tag153.xml"/><Relationship Id="rId10" Type="http://schemas.openxmlformats.org/officeDocument/2006/relationships/image" Target="../media/image5.png"/><Relationship Id="rId4" Type="http://schemas.openxmlformats.org/officeDocument/2006/relationships/tags" Target="../tags/tag152.xml"/><Relationship Id="rId9" Type="http://schemas.openxmlformats.org/officeDocument/2006/relationships/notesSlide" Target="../notesSlides/notesSlide15.xml"/><Relationship Id="rId14" Type="http://schemas.openxmlformats.org/officeDocument/2006/relationships/image" Target="../media/image31.svg"/></Relationships>
</file>

<file path=ppt/slides/_rels/slide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wiki.gccollab.ca/images/7/7d/CM_Program_optimization-Rencontre_annonce_personnel_FR.pptx" TargetMode="Externa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3.xml"/><Relationship Id="rId5" Type="http://schemas.openxmlformats.org/officeDocument/2006/relationships/slideLayout" Target="../slideLayouts/slideLayout14.xml"/><Relationship Id="rId4" Type="http://schemas.openxmlformats.org/officeDocument/2006/relationships/tags" Target="../tags/tag20.xml"/></Relationships>
</file>

<file path=ppt/slides/_rels/slide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slideLayout" Target="../slideLayouts/slideLayout14.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6" Type="http://schemas.openxmlformats.org/officeDocument/2006/relationships/image" Target="../media/image7.pn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image" Target="../media/image5.png"/><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image" Target="../media/image8.png"/><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image" Target="../media/image5.png"/><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image" Target="../media/image11.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notesSlide" Target="../notesSlides/notesSlide5.xml"/><Relationship Id="rId32" Type="http://schemas.openxmlformats.org/officeDocument/2006/relationships/image" Target="../media/image14.png"/><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slideLayout" Target="../slideLayouts/slideLayout14.xml"/><Relationship Id="rId28" Type="http://schemas.openxmlformats.org/officeDocument/2006/relationships/image" Target="../media/image10.png"/><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image" Target="../media/image13.png"/><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image" Target="../media/image9.png"/><Relationship Id="rId30"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diagramColors" Target="../diagrams/colors1.xml"/><Relationship Id="rId3" Type="http://schemas.openxmlformats.org/officeDocument/2006/relationships/tags" Target="../tags/tag57.xml"/><Relationship Id="rId7" Type="http://schemas.openxmlformats.org/officeDocument/2006/relationships/notesSlide" Target="../notesSlides/notesSlide6.xml"/><Relationship Id="rId12" Type="http://schemas.openxmlformats.org/officeDocument/2006/relationships/diagramQuickStyle" Target="../diagrams/quickStyle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Layout" Target="../slideLayouts/slideLayout14.xml"/><Relationship Id="rId11" Type="http://schemas.openxmlformats.org/officeDocument/2006/relationships/diagramLayout" Target="../diagrams/layout1.xml"/><Relationship Id="rId5" Type="http://schemas.openxmlformats.org/officeDocument/2006/relationships/tags" Target="../tags/tag59.xml"/><Relationship Id="rId10" Type="http://schemas.openxmlformats.org/officeDocument/2006/relationships/diagramData" Target="../diagrams/data1.xml"/><Relationship Id="rId4" Type="http://schemas.openxmlformats.org/officeDocument/2006/relationships/tags" Target="../tags/tag58.xml"/><Relationship Id="rId9" Type="http://schemas.openxmlformats.org/officeDocument/2006/relationships/image" Target="../media/image5.png"/><Relationship Id="rId14" Type="http://schemas.microsoft.com/office/2007/relationships/diagramDrawing" Target="../diagrams/drawing1.xml"/></Relationships>
</file>

<file path=ppt/slides/_rels/slide7.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5.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notesSlide" Target="../notesSlides/notesSlide7.xml"/><Relationship Id="rId5" Type="http://schemas.openxmlformats.org/officeDocument/2006/relationships/slideLayout" Target="../slideLayouts/slideLayout14.xml"/><Relationship Id="rId4" Type="http://schemas.openxmlformats.org/officeDocument/2006/relationships/tags" Target="../tags/tag6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7.xml"/><Relationship Id="rId7" Type="http://schemas.openxmlformats.org/officeDocument/2006/relationships/notesSlide" Target="../notesSlides/notesSlide9.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slideLayout" Target="../slideLayouts/slideLayout14.xml"/><Relationship Id="rId5" Type="http://schemas.openxmlformats.org/officeDocument/2006/relationships/tags" Target="../tags/tag69.xml"/><Relationship Id="rId4" Type="http://schemas.openxmlformats.org/officeDocument/2006/relationships/tags" Target="../tags/tag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24406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411163A5-7CB5-46A7-AE5F-BC3D5AAEA03C}"/>
              </a:ext>
            </a:extLst>
          </p:cNvPr>
          <p:cNvSpPr/>
          <p:nvPr>
            <p:custDataLst>
              <p:tags r:id="rId2"/>
            </p:custDataLst>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4400" b="1" dirty="0">
                <a:solidFill>
                  <a:srgbClr val="003B5C"/>
                </a:solidFill>
                <a:highlight>
                  <a:srgbClr val="FFFF00"/>
                </a:highlight>
                <a:latin typeface="Avenir Next LT Pro Demi" panose="020B0704020202020204" pitchFamily="34" charset="0"/>
              </a:rPr>
              <a:t>[PROJECT LOCATION]</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custDataLst>
              <p:tags r:id="rId3"/>
            </p:custDataLst>
          </p:nvPr>
        </p:nvSpPr>
        <p:spPr>
          <a:xfrm>
            <a:off x="3810311" y="3063302"/>
            <a:ext cx="6905313"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Workplace Optimization </a:t>
            </a:r>
            <a:r>
              <a:rPr lang="en-CA" dirty="0">
                <a:solidFill>
                  <a:schemeClr val="accent3">
                    <a:lumMod val="75000"/>
                  </a:schemeClr>
                </a:solidFill>
                <a:latin typeface="Avenir Next LT Pro Demi" panose="020B0704020202020204" pitchFamily="34" charset="0"/>
              </a:rPr>
              <a:t>P</a:t>
            </a:r>
            <a:r>
              <a:rPr kumimoji="0" lang="en-CA" sz="2800" b="1" i="0" u="none" strike="noStrike" kern="1200" cap="none" spc="0" normalizeH="0" baseline="0" noProof="0" dirty="0" err="1">
                <a:ln>
                  <a:noFill/>
                </a:ln>
                <a:solidFill>
                  <a:schemeClr val="accent3">
                    <a:lumMod val="75000"/>
                  </a:schemeClr>
                </a:solidFill>
                <a:effectLst/>
                <a:uLnTx/>
                <a:uFillTx/>
                <a:latin typeface="Avenir Next LT Pro Demi" panose="020B0704020202020204" pitchFamily="34" charset="0"/>
                <a:ea typeface="+mn-ea"/>
                <a:cs typeface="+mn-cs"/>
              </a:rPr>
              <a:t>roject</a:t>
            </a:r>
            <a:endParaRPr kumimoji="0" lang="en-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endParaRPr>
          </a:p>
        </p:txBody>
      </p:sp>
      <p:sp>
        <p:nvSpPr>
          <p:cNvPr id="19" name="Subtitle 2">
            <a:extLst>
              <a:ext uri="{FF2B5EF4-FFF2-40B4-BE49-F238E27FC236}">
                <a16:creationId xmlns:a16="http://schemas.microsoft.com/office/drawing/2014/main" id="{6F17F2A8-C13F-4D59-AEE3-797B6ED58FD3}"/>
              </a:ext>
            </a:extLst>
          </p:cNvPr>
          <p:cNvSpPr txBox="1">
            <a:spLocks/>
          </p:cNvSpPr>
          <p:nvPr>
            <p:custDataLst>
              <p:tags r:id="rId4"/>
            </p:custDataLst>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en-CA" sz="1200" dirty="0">
                <a:solidFill>
                  <a:srgbClr val="4B4F54"/>
                </a:solidFill>
                <a:highlight>
                  <a:srgbClr val="FFFF00"/>
                </a:highlight>
                <a:latin typeface="Avenir Next LT Pro Demi" panose="020B0704020202020204" pitchFamily="34" charset="0"/>
              </a:rPr>
              <a:t>DATE</a:t>
            </a:r>
          </a:p>
        </p:txBody>
      </p:sp>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custDataLst>
              <p:tags r:id="rId5"/>
            </p:custDataLst>
          </p:nvPr>
        </p:nvPicPr>
        <p:blipFill>
          <a:blip r:embed="rId11">
            <a:extLst>
              <a:ext uri="{28A0092B-C50C-407E-A947-70E740481C1C}">
                <a14:useLocalDpi xmlns:a14="http://schemas.microsoft.com/office/drawing/2010/main" val="0"/>
              </a:ext>
            </a:extLst>
          </a:blip>
          <a:srcRect/>
          <a:stretch/>
        </p:blipFill>
        <p:spPr>
          <a:xfrm>
            <a:off x="586140" y="1607996"/>
            <a:ext cx="2665592" cy="2910612"/>
          </a:xfrm>
          <a:prstGeom prst="rect">
            <a:avLst/>
          </a:prstGeom>
        </p:spPr>
      </p:pic>
      <p:pic>
        <p:nvPicPr>
          <p:cNvPr id="3" name="Picture 2">
            <a:extLst>
              <a:ext uri="{FF2B5EF4-FFF2-40B4-BE49-F238E27FC236}">
                <a16:creationId xmlns:a16="http://schemas.microsoft.com/office/drawing/2014/main" id="{1954C225-5C7E-D340-D4FB-948CFEF5C684}"/>
              </a:ext>
              <a:ext uri="{C183D7F6-B498-43B3-948B-1728B52AA6E4}">
                <adec:decorative xmlns:adec="http://schemas.microsoft.com/office/drawing/2017/decorative" val="1"/>
              </a:ext>
            </a:extLst>
          </p:cNvPr>
          <p:cNvPicPr>
            <a:picLocks noChangeAspect="1"/>
          </p:cNvPicPr>
          <p:nvPr>
            <p:custDataLst>
              <p:tags r:id="rId6"/>
            </p:custDataLst>
          </p:nvPr>
        </p:nvPicPr>
        <p:blipFill>
          <a:blip r:embed="rId12">
            <a:extLst>
              <a:ext uri="{28A0092B-C50C-407E-A947-70E740481C1C}">
                <a14:useLocalDpi xmlns:a14="http://schemas.microsoft.com/office/drawing/2010/main" val="0"/>
              </a:ext>
            </a:extLst>
          </a:blip>
          <a:srcRect/>
          <a:stretch/>
        </p:blipFill>
        <p:spPr bwMode="auto">
          <a:xfrm>
            <a:off x="10493875" y="89107"/>
            <a:ext cx="1573992" cy="794217"/>
          </a:xfrm>
          <a:prstGeom prst="rect">
            <a:avLst/>
          </a:prstGeom>
          <a:noFill/>
          <a:ln>
            <a:noFill/>
          </a:ln>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66694"/>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Quiet Zone</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283017" y="1555390"/>
            <a:ext cx="5385110" cy="2492990"/>
          </a:xfrm>
          <a:prstGeom prst="rect">
            <a:avLst/>
          </a:prstGeom>
          <a:noFill/>
        </p:spPr>
        <p:txBody>
          <a:bodyPr wrap="square">
            <a:spAutoFit/>
          </a:bodyPr>
          <a:lstStyle/>
          <a:p>
            <a:pPr marL="285750" indent="-285750">
              <a:buFont typeface="Arial" panose="020B0604020202020204" pitchFamily="34" charset="0"/>
              <a:buChar char="•"/>
            </a:pPr>
            <a:r>
              <a:rPr lang="fr-CA" sz="2000" dirty="0">
                <a:latin typeface="Avenir Next LT Pro" panose="020B0504020202020204" pitchFamily="34" charset="0"/>
              </a:rPr>
              <a:t>A quiet zone will be created on each floor.</a:t>
            </a:r>
          </a:p>
          <a:p>
            <a:endParaRPr lang="fr-CA" sz="2000" dirty="0">
              <a:latin typeface="Avenir Next LT Pro" panose="020B0504020202020204" pitchFamily="34" charset="0"/>
            </a:endParaRPr>
          </a:p>
          <a:p>
            <a:pPr marL="285750" indent="-285750">
              <a:buFont typeface="Arial" panose="020B0604020202020204" pitchFamily="34" charset="0"/>
              <a:buChar char="•"/>
            </a:pPr>
            <a:r>
              <a:rPr lang="fr-CA" sz="2000" dirty="0">
                <a:latin typeface="Avenir Next LT Pro" panose="020B0504020202020204" pitchFamily="34" charset="0"/>
              </a:rPr>
              <a:t>This portion of the floor is designed to encourage work and support the need for tranquility. </a:t>
            </a:r>
          </a:p>
          <a:p>
            <a:endParaRPr lang="fr-CA" dirty="0">
              <a:latin typeface="Avenir Next LT Pro" panose="020B0504020202020204" pitchFamily="34" charset="0"/>
            </a:endParaRPr>
          </a:p>
          <a:p>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1">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13" name="TextBox 113" descr="test sentence &#10;&#10;">
            <a:extLst>
              <a:ext uri="{FF2B5EF4-FFF2-40B4-BE49-F238E27FC236}">
                <a16:creationId xmlns:a16="http://schemas.microsoft.com/office/drawing/2014/main" id="{D0C12D73-8CDE-B900-CBD1-6FC806D83D2C}"/>
              </a:ext>
              <a:ext uri="{C183D7F6-B498-43B3-948B-1728B52AA6E4}">
                <adec:decorative xmlns:adec="http://schemas.microsoft.com/office/drawing/2017/decorative" val="0"/>
              </a:ext>
            </a:extLst>
          </p:cNvPr>
          <p:cNvSpPr txBox="1"/>
          <p:nvPr>
            <p:custDataLst>
              <p:tags r:id="rId5"/>
            </p:custDataLst>
          </p:nvPr>
        </p:nvSpPr>
        <p:spPr>
          <a:xfrm>
            <a:off x="7763056" y="1032004"/>
            <a:ext cx="1702157" cy="338554"/>
          </a:xfrm>
          <a:prstGeom prst="rect">
            <a:avLst/>
          </a:prstGeom>
          <a:noFill/>
        </p:spPr>
        <p:txBody>
          <a:bodyPr wrap="square" rtlCol="0">
            <a:spAutoFit/>
          </a:bodyPr>
          <a:lstStyle/>
          <a:p>
            <a:r>
              <a:rPr lang="fr-CA" sz="1600" b="1" dirty="0">
                <a:solidFill>
                  <a:schemeClr val="accent2"/>
                </a:solidFill>
                <a:latin typeface="Avenir Next LT Pro" panose="020B0504020202020204" pitchFamily="34" charset="0"/>
              </a:rPr>
              <a:t>Quiet zone</a:t>
            </a:r>
          </a:p>
        </p:txBody>
      </p:sp>
      <p:pic>
        <p:nvPicPr>
          <p:cNvPr id="6" name="Picture 108" descr="example of quiet zone">
            <a:extLst>
              <a:ext uri="{FF2B5EF4-FFF2-40B4-BE49-F238E27FC236}">
                <a16:creationId xmlns:a16="http://schemas.microsoft.com/office/drawing/2014/main" id="{185AE60D-63D0-0E73-0759-4A42E0272CBF}"/>
              </a:ext>
            </a:extLst>
          </p:cNvPr>
          <p:cNvPicPr>
            <a:picLocks noChangeAspect="1"/>
          </p:cNvPicPr>
          <p:nvPr>
            <p:custDataLst>
              <p:tags r:id="rId6"/>
            </p:custDataLst>
          </p:nvPr>
        </p:nvPicPr>
        <p:blipFill>
          <a:blip r:embed="rId12"/>
          <a:stretch>
            <a:fillRect/>
          </a:stretch>
        </p:blipFill>
        <p:spPr>
          <a:xfrm>
            <a:off x="6688714" y="1570175"/>
            <a:ext cx="3850842" cy="3850844"/>
          </a:xfrm>
          <a:prstGeom prst="rect">
            <a:avLst/>
          </a:prstGeom>
          <a:effectLst>
            <a:outerShdw blurRad="63500" sx="102000" sy="102000" algn="ctr" rotWithShape="0">
              <a:prstClr val="black">
                <a:alpha val="40000"/>
              </a:prstClr>
            </a:outerShdw>
          </a:effectLst>
        </p:spPr>
      </p:pic>
      <p:sp>
        <p:nvSpPr>
          <p:cNvPr id="12" name="Rectangle 11">
            <a:extLst>
              <a:ext uri="{FF2B5EF4-FFF2-40B4-BE49-F238E27FC236}">
                <a16:creationId xmlns:a16="http://schemas.microsoft.com/office/drawing/2014/main" id="{79E5A377-DAE4-753B-F5E9-24A86950F8FE}"/>
              </a:ext>
              <a:ext uri="{C183D7F6-B498-43B3-948B-1728B52AA6E4}">
                <adec:decorative xmlns:adec="http://schemas.microsoft.com/office/drawing/2017/decorative" val="1"/>
              </a:ext>
            </a:extLst>
          </p:cNvPr>
          <p:cNvSpPr/>
          <p:nvPr>
            <p:custDataLst>
              <p:tags r:id="rId7"/>
            </p:custDataLst>
          </p:nvPr>
        </p:nvSpPr>
        <p:spPr>
          <a:xfrm>
            <a:off x="6808206" y="1637403"/>
            <a:ext cx="3621386" cy="1078637"/>
          </a:xfrm>
          <a:prstGeom prst="rect">
            <a:avLst/>
          </a:prstGeom>
          <a:solidFill>
            <a:schemeClr val="accent2">
              <a:lumMod val="60000"/>
              <a:lumOff val="40000"/>
              <a:alpha val="3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7" name="Freeform: Shape 8">
            <a:extLst>
              <a:ext uri="{FF2B5EF4-FFF2-40B4-BE49-F238E27FC236}">
                <a16:creationId xmlns:a16="http://schemas.microsoft.com/office/drawing/2014/main" id="{CC2D8B5B-DD81-8C68-A503-6C536867FD7F}"/>
              </a:ext>
              <a:ext uri="{C183D7F6-B498-43B3-948B-1728B52AA6E4}">
                <adec:decorative xmlns:adec="http://schemas.microsoft.com/office/drawing/2017/decorative" val="1"/>
              </a:ext>
            </a:extLst>
          </p:cNvPr>
          <p:cNvSpPr/>
          <p:nvPr>
            <p:custDataLst>
              <p:tags r:id="rId8"/>
            </p:custDataLst>
          </p:nvPr>
        </p:nvSpPr>
        <p:spPr>
          <a:xfrm>
            <a:off x="7650073" y="2716040"/>
            <a:ext cx="1566355" cy="1036216"/>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Tree>
    <p:extLst>
      <p:ext uri="{BB962C8B-B14F-4D97-AF65-F5344CB8AC3E}">
        <p14:creationId xmlns:p14="http://schemas.microsoft.com/office/powerpoint/2010/main" val="1906248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eighbourhood</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320803" y="1488462"/>
            <a:ext cx="4199001" cy="3139321"/>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CA" dirty="0"/>
              <a:t>The floors will be assigned to one or more branches.</a:t>
            </a:r>
          </a:p>
          <a:p>
            <a:endParaRPr lang="en-CA" dirty="0"/>
          </a:p>
          <a:p>
            <a:pPr marL="285750" indent="-285750">
              <a:buFont typeface="Arial" panose="020B0604020202020204" pitchFamily="34" charset="0"/>
              <a:buChar char="•"/>
            </a:pPr>
            <a:r>
              <a:rPr lang="en-CA" dirty="0"/>
              <a:t>The entire floor will be open to all - no floor sections or rooms reserved for specific teams.</a:t>
            </a:r>
          </a:p>
          <a:p>
            <a:endParaRPr lang="en-CA" dirty="0"/>
          </a:p>
          <a:p>
            <a:pPr marL="285750" indent="-285750">
              <a:buFont typeface="Arial" panose="020B0604020202020204" pitchFamily="34" charset="0"/>
              <a:buChar char="•"/>
            </a:pPr>
            <a:r>
              <a:rPr lang="en-CA" dirty="0"/>
              <a:t>It is permissible to work from a neighbourhood other than the one designated, for example, to collaborate with colleagues.</a:t>
            </a:r>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0">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grpSp>
        <p:nvGrpSpPr>
          <p:cNvPr id="6" name="Group 11" descr="An image of an office building with the recommended approach of floor by floor neighborhoods to the right, and a representation of the non recommended solution of micro-neighborhoods on the left. ">
            <a:extLst>
              <a:ext uri="{FF2B5EF4-FFF2-40B4-BE49-F238E27FC236}">
                <a16:creationId xmlns:a16="http://schemas.microsoft.com/office/drawing/2014/main" id="{416113E3-E9F4-0DEB-3045-FDE7ADC4CA45}"/>
              </a:ext>
            </a:extLst>
          </p:cNvPr>
          <p:cNvGrpSpPr/>
          <p:nvPr>
            <p:custDataLst>
              <p:tags r:id="rId5"/>
            </p:custDataLst>
          </p:nvPr>
        </p:nvGrpSpPr>
        <p:grpSpPr>
          <a:xfrm>
            <a:off x="5494119" y="1625112"/>
            <a:ext cx="5813478" cy="3826116"/>
            <a:chOff x="2578923" y="2219562"/>
            <a:chExt cx="5174431" cy="3826116"/>
          </a:xfrm>
        </p:grpSpPr>
        <p:grpSp>
          <p:nvGrpSpPr>
            <p:cNvPr id="77" name="Group 1088">
              <a:extLst>
                <a:ext uri="{FF2B5EF4-FFF2-40B4-BE49-F238E27FC236}">
                  <a16:creationId xmlns:a16="http://schemas.microsoft.com/office/drawing/2014/main" id="{CE4A8AA8-D80C-1133-5FA3-51E8E7EA7F99}"/>
                </a:ext>
              </a:extLst>
            </p:cNvPr>
            <p:cNvGrpSpPr/>
            <p:nvPr/>
          </p:nvGrpSpPr>
          <p:grpSpPr>
            <a:xfrm>
              <a:off x="2675399" y="2967838"/>
              <a:ext cx="3722979" cy="2657495"/>
              <a:chOff x="7329630" y="3624399"/>
              <a:chExt cx="3633390" cy="2593547"/>
            </a:xfrm>
          </p:grpSpPr>
          <p:sp>
            <p:nvSpPr>
              <p:cNvPr id="78" name="Freeform: Shape 13">
                <a:extLst>
                  <a:ext uri="{FF2B5EF4-FFF2-40B4-BE49-F238E27FC236}">
                    <a16:creationId xmlns:a16="http://schemas.microsoft.com/office/drawing/2014/main" id="{057E7B1D-D7C7-9460-3484-E41EF154A9B2}"/>
                  </a:ext>
                </a:extLst>
              </p:cNvPr>
              <p:cNvSpPr/>
              <p:nvPr/>
            </p:nvSpPr>
            <p:spPr>
              <a:xfrm flipH="1">
                <a:off x="7385144" y="5615770"/>
                <a:ext cx="3577876" cy="602176"/>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79" name="Freeform: Shape 15">
                <a:extLst>
                  <a:ext uri="{FF2B5EF4-FFF2-40B4-BE49-F238E27FC236}">
                    <a16:creationId xmlns:a16="http://schemas.microsoft.com/office/drawing/2014/main" id="{8FCD9700-1C2E-305F-C2D7-D1F22165A204}"/>
                  </a:ext>
                </a:extLst>
              </p:cNvPr>
              <p:cNvSpPr/>
              <p:nvPr/>
            </p:nvSpPr>
            <p:spPr>
              <a:xfrm rot="5400000" flipH="1">
                <a:off x="8623955" y="3272886"/>
                <a:ext cx="430038" cy="289131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alpha val="50000"/>
                </a:srgb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80" name="Freeform: Shape 17">
                <a:extLst>
                  <a:ext uri="{FF2B5EF4-FFF2-40B4-BE49-F238E27FC236}">
                    <a16:creationId xmlns:a16="http://schemas.microsoft.com/office/drawing/2014/main" id="{AA9F00D5-1806-DACE-5D3E-92DD37C22826}"/>
                  </a:ext>
                </a:extLst>
              </p:cNvPr>
              <p:cNvSpPr/>
              <p:nvPr/>
            </p:nvSpPr>
            <p:spPr>
              <a:xfrm rot="4929086" flipH="1">
                <a:off x="8746398" y="3377076"/>
                <a:ext cx="704826" cy="3407138"/>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chemeClr val="accent1">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81" name="Freeform: Shape 18">
                <a:extLst>
                  <a:ext uri="{FF2B5EF4-FFF2-40B4-BE49-F238E27FC236}">
                    <a16:creationId xmlns:a16="http://schemas.microsoft.com/office/drawing/2014/main" id="{91B53DBD-4316-9F02-791B-A39F96719240}"/>
                  </a:ext>
                </a:extLst>
              </p:cNvPr>
              <p:cNvSpPr/>
              <p:nvPr/>
            </p:nvSpPr>
            <p:spPr>
              <a:xfrm rot="4425982" flipH="1">
                <a:off x="8415972" y="4004967"/>
                <a:ext cx="992587" cy="297489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chemeClr val="accent4">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82" name="Freeform: Shape 19">
                <a:extLst>
                  <a:ext uri="{FF2B5EF4-FFF2-40B4-BE49-F238E27FC236}">
                    <a16:creationId xmlns:a16="http://schemas.microsoft.com/office/drawing/2014/main" id="{6667D5C5-60C1-EF39-A34A-68A894525C14}"/>
                  </a:ext>
                </a:extLst>
              </p:cNvPr>
              <p:cNvSpPr/>
              <p:nvPr/>
            </p:nvSpPr>
            <p:spPr>
              <a:xfrm rot="5400000" flipH="1">
                <a:off x="8822856" y="2581116"/>
                <a:ext cx="430038" cy="3416489"/>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chemeClr val="accent2">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83" name="Freeform: Shape 20">
                <a:extLst>
                  <a:ext uri="{FF2B5EF4-FFF2-40B4-BE49-F238E27FC236}">
                    <a16:creationId xmlns:a16="http://schemas.microsoft.com/office/drawing/2014/main" id="{BD636ECB-7C44-CBB6-D835-F5EEC0FDB5E7}"/>
                  </a:ext>
                </a:extLst>
              </p:cNvPr>
              <p:cNvSpPr/>
              <p:nvPr/>
            </p:nvSpPr>
            <p:spPr>
              <a:xfrm flipH="1">
                <a:off x="7482073" y="3653422"/>
                <a:ext cx="2892198" cy="430038"/>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CA" dirty="0"/>
              </a:p>
            </p:txBody>
          </p:sp>
          <p:sp>
            <p:nvSpPr>
              <p:cNvPr id="84" name="TextBox 21">
                <a:extLst>
                  <a:ext uri="{FF2B5EF4-FFF2-40B4-BE49-F238E27FC236}">
                    <a16:creationId xmlns:a16="http://schemas.microsoft.com/office/drawing/2014/main" id="{2B0328CC-C16A-56CA-D000-EA18226D76E5}"/>
                  </a:ext>
                </a:extLst>
              </p:cNvPr>
              <p:cNvSpPr txBox="1"/>
              <p:nvPr/>
            </p:nvSpPr>
            <p:spPr>
              <a:xfrm>
                <a:off x="7695081" y="4154274"/>
                <a:ext cx="1821633" cy="232475"/>
              </a:xfrm>
              <a:prstGeom prst="rect">
                <a:avLst/>
              </a:prstGeom>
              <a:noFill/>
            </p:spPr>
            <p:txBody>
              <a:bodyPr wrap="square" rtlCol="0">
                <a:spAutoFit/>
              </a:bodyPr>
              <a:lstStyle/>
              <a:p>
                <a:pPr lvl="0" algn="ctr">
                  <a:lnSpc>
                    <a:spcPts val="1100"/>
                  </a:lnSpc>
                  <a:defRPr/>
                </a:pPr>
                <a:r>
                  <a:rPr lang="en-CA" sz="1200" dirty="0">
                    <a:latin typeface="Calibri"/>
                  </a:rPr>
                  <a:t>Branches B and C</a:t>
                </a:r>
                <a:endParaRPr kumimoji="0" lang="en-CA" sz="1200" i="0" u="none" strike="noStrike" kern="1200" cap="none" spc="0" normalizeH="0" baseline="0" noProof="0" dirty="0">
                  <a:ln>
                    <a:noFill/>
                  </a:ln>
                  <a:effectLst/>
                  <a:uLnTx/>
                  <a:uFillTx/>
                  <a:latin typeface="Calibri"/>
                </a:endParaRPr>
              </a:p>
            </p:txBody>
          </p:sp>
          <p:sp>
            <p:nvSpPr>
              <p:cNvPr id="85" name="TextBox 22">
                <a:extLst>
                  <a:ext uri="{FF2B5EF4-FFF2-40B4-BE49-F238E27FC236}">
                    <a16:creationId xmlns:a16="http://schemas.microsoft.com/office/drawing/2014/main" id="{5BF43345-89A2-8BD1-AAB5-685CC2838D7D}"/>
                  </a:ext>
                </a:extLst>
              </p:cNvPr>
              <p:cNvSpPr txBox="1"/>
              <p:nvPr/>
            </p:nvSpPr>
            <p:spPr>
              <a:xfrm>
                <a:off x="7383089" y="4582602"/>
                <a:ext cx="2490508"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lang="en-CA" sz="1200" dirty="0">
                    <a:latin typeface="Calibri"/>
                  </a:rPr>
                  <a:t>Branch</a:t>
                </a:r>
                <a:r>
                  <a:rPr kumimoji="0" lang="en-CA" sz="1200" i="0" u="none" strike="noStrike" kern="1200" cap="none" spc="0" normalizeH="0" baseline="0" noProof="0" dirty="0">
                    <a:ln>
                      <a:noFill/>
                    </a:ln>
                    <a:effectLst/>
                    <a:uLnTx/>
                    <a:uFillTx/>
                    <a:latin typeface="Calibri"/>
                  </a:rPr>
                  <a:t> D</a:t>
                </a:r>
              </a:p>
            </p:txBody>
          </p:sp>
          <p:sp>
            <p:nvSpPr>
              <p:cNvPr id="86" name="TextBox 24">
                <a:extLst>
                  <a:ext uri="{FF2B5EF4-FFF2-40B4-BE49-F238E27FC236}">
                    <a16:creationId xmlns:a16="http://schemas.microsoft.com/office/drawing/2014/main" id="{36F3A7BC-2D1A-741B-822A-079CEF79C39F}"/>
                  </a:ext>
                </a:extLst>
              </p:cNvPr>
              <p:cNvSpPr txBox="1"/>
              <p:nvPr/>
            </p:nvSpPr>
            <p:spPr>
              <a:xfrm>
                <a:off x="7818034" y="3624399"/>
                <a:ext cx="1637002"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kumimoji="0" lang="en-CA" sz="1200" i="0" u="none" strike="noStrike" kern="1200" cap="none" spc="0" normalizeH="0" baseline="0" noProof="0" dirty="0">
                    <a:ln>
                      <a:noFill/>
                    </a:ln>
                    <a:effectLst/>
                    <a:uLnTx/>
                    <a:uFillTx/>
                    <a:latin typeface="Calibri"/>
                  </a:rPr>
                  <a:t>Branch</a:t>
                </a:r>
                <a:r>
                  <a:rPr kumimoji="0" lang="en-CA" sz="1200" i="0" u="none" strike="noStrike" kern="1200" cap="none" spc="0" normalizeH="0" baseline="0" noProof="0" dirty="0">
                    <a:ln>
                      <a:noFill/>
                    </a:ln>
                    <a:solidFill>
                      <a:srgbClr val="000000"/>
                    </a:solidFill>
                    <a:effectLst/>
                    <a:uLnTx/>
                    <a:uFillTx/>
                    <a:latin typeface="Calibri"/>
                  </a:rPr>
                  <a:t> A</a:t>
                </a:r>
              </a:p>
            </p:txBody>
          </p:sp>
          <p:sp>
            <p:nvSpPr>
              <p:cNvPr id="87" name="TextBox 25">
                <a:extLst>
                  <a:ext uri="{FF2B5EF4-FFF2-40B4-BE49-F238E27FC236}">
                    <a16:creationId xmlns:a16="http://schemas.microsoft.com/office/drawing/2014/main" id="{A98FC754-5F9D-A6AB-8070-6E366FA59DE0}"/>
                  </a:ext>
                </a:extLst>
              </p:cNvPr>
              <p:cNvSpPr txBox="1"/>
              <p:nvPr/>
            </p:nvSpPr>
            <p:spPr>
              <a:xfrm>
                <a:off x="7687777" y="5026239"/>
                <a:ext cx="1921604" cy="230535"/>
              </a:xfrm>
              <a:prstGeom prst="rect">
                <a:avLst/>
              </a:prstGeom>
              <a:noFill/>
            </p:spPr>
            <p:txBody>
              <a:bodyPr wrap="square" rtlCol="0">
                <a:spAutoFit/>
              </a:bodyPr>
              <a:lstStyle/>
              <a:p>
                <a:pPr lvl="0" algn="ctr">
                  <a:lnSpc>
                    <a:spcPts val="1100"/>
                  </a:lnSpc>
                  <a:defRPr/>
                </a:pPr>
                <a:r>
                  <a:rPr lang="en-CA" sz="1200" dirty="0">
                    <a:solidFill>
                      <a:srgbClr val="000000"/>
                    </a:solidFill>
                  </a:rPr>
                  <a:t>Directorates E and F</a:t>
                </a:r>
              </a:p>
            </p:txBody>
          </p:sp>
          <p:sp>
            <p:nvSpPr>
              <p:cNvPr id="88" name="TextBox 26">
                <a:extLst>
                  <a:ext uri="{FF2B5EF4-FFF2-40B4-BE49-F238E27FC236}">
                    <a16:creationId xmlns:a16="http://schemas.microsoft.com/office/drawing/2014/main" id="{A6684F48-A2FE-496D-6BD2-6AF0B6FF503C}"/>
                  </a:ext>
                </a:extLst>
              </p:cNvPr>
              <p:cNvSpPr txBox="1"/>
              <p:nvPr/>
            </p:nvSpPr>
            <p:spPr>
              <a:xfrm>
                <a:off x="7734813" y="5456853"/>
                <a:ext cx="1839615"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lang="en-CA" sz="1200" dirty="0">
                    <a:latin typeface="Calibri"/>
                  </a:rPr>
                  <a:t>Branch</a:t>
                </a:r>
                <a:r>
                  <a:rPr kumimoji="0" lang="en-CA" sz="1200" i="0" u="none" strike="noStrike" kern="1200" cap="none" spc="0" normalizeH="0" baseline="0" noProof="0" dirty="0">
                    <a:ln>
                      <a:noFill/>
                    </a:ln>
                    <a:effectLst/>
                    <a:uLnTx/>
                    <a:uFillTx/>
                    <a:latin typeface="Calibri"/>
                  </a:rPr>
                  <a:t> G</a:t>
                </a:r>
              </a:p>
            </p:txBody>
          </p:sp>
          <p:sp>
            <p:nvSpPr>
              <p:cNvPr id="89" name="TextBox 27">
                <a:extLst>
                  <a:ext uri="{FF2B5EF4-FFF2-40B4-BE49-F238E27FC236}">
                    <a16:creationId xmlns:a16="http://schemas.microsoft.com/office/drawing/2014/main" id="{CF1A0002-EC31-0B3E-FF8A-584706C6E1CD}"/>
                  </a:ext>
                </a:extLst>
              </p:cNvPr>
              <p:cNvSpPr txBox="1"/>
              <p:nvPr/>
            </p:nvSpPr>
            <p:spPr>
              <a:xfrm>
                <a:off x="7444094" y="5867729"/>
                <a:ext cx="2391720"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kumimoji="0" lang="en-CA" sz="1200" b="1" i="0" u="none" strike="noStrike" kern="1200" cap="none" spc="0" normalizeH="0" baseline="0" noProof="0" dirty="0">
                    <a:ln>
                      <a:noFill/>
                    </a:ln>
                    <a:effectLst/>
                    <a:uLnTx/>
                    <a:uFillTx/>
                    <a:latin typeface="Calibri"/>
                  </a:rPr>
                  <a:t>Open to all </a:t>
                </a:r>
                <a:endParaRPr kumimoji="0" lang="en-CA" sz="1200" i="0" u="none" strike="noStrike" kern="1200" cap="none" spc="0" normalizeH="0" baseline="0" noProof="0" dirty="0">
                  <a:ln>
                    <a:noFill/>
                  </a:ln>
                  <a:effectLst/>
                  <a:uLnTx/>
                  <a:uFillTx/>
                  <a:latin typeface="Calibri"/>
                </a:endParaRPr>
              </a:p>
            </p:txBody>
          </p:sp>
        </p:grpSp>
        <p:grpSp>
          <p:nvGrpSpPr>
            <p:cNvPr id="10" name="Google Shape;1309;p104">
              <a:extLst>
                <a:ext uri="{FF2B5EF4-FFF2-40B4-BE49-F238E27FC236}">
                  <a16:creationId xmlns:a16="http://schemas.microsoft.com/office/drawing/2014/main" id="{79080D31-DF36-CE33-848A-51E4A0F01CF4}"/>
                </a:ext>
              </a:extLst>
            </p:cNvPr>
            <p:cNvGrpSpPr/>
            <p:nvPr>
              <p:custDataLst>
                <p:tags r:id="rId6"/>
              </p:custDataLst>
            </p:nvPr>
          </p:nvGrpSpPr>
          <p:grpSpPr>
            <a:xfrm>
              <a:off x="5500989" y="3210565"/>
              <a:ext cx="2252365" cy="2835113"/>
              <a:chOff x="7398008" y="2595759"/>
              <a:chExt cx="1855558" cy="2456631"/>
            </a:xfrm>
          </p:grpSpPr>
          <p:grpSp>
            <p:nvGrpSpPr>
              <p:cNvPr id="17" name="Google Shape;1310;p104">
                <a:extLst>
                  <a:ext uri="{FF2B5EF4-FFF2-40B4-BE49-F238E27FC236}">
                    <a16:creationId xmlns:a16="http://schemas.microsoft.com/office/drawing/2014/main" id="{50A9A730-E35F-EC06-84BD-411425130433}"/>
                  </a:ext>
                </a:extLst>
              </p:cNvPr>
              <p:cNvGrpSpPr/>
              <p:nvPr/>
            </p:nvGrpSpPr>
            <p:grpSpPr>
              <a:xfrm>
                <a:off x="7398008" y="2595759"/>
                <a:ext cx="1855558" cy="2456631"/>
                <a:chOff x="7397720" y="2595653"/>
                <a:chExt cx="2169990" cy="2872916"/>
              </a:xfrm>
            </p:grpSpPr>
            <p:grpSp>
              <p:nvGrpSpPr>
                <p:cNvPr id="19" name="Google Shape;1311;p104">
                  <a:extLst>
                    <a:ext uri="{FF2B5EF4-FFF2-40B4-BE49-F238E27FC236}">
                      <a16:creationId xmlns:a16="http://schemas.microsoft.com/office/drawing/2014/main" id="{43713B3D-D1AA-EA68-2BA8-6F6E9711A69A}"/>
                    </a:ext>
                  </a:extLst>
                </p:cNvPr>
                <p:cNvGrpSpPr/>
                <p:nvPr/>
              </p:nvGrpSpPr>
              <p:grpSpPr>
                <a:xfrm>
                  <a:off x="7397720" y="2595653"/>
                  <a:ext cx="2169990" cy="2872916"/>
                  <a:chOff x="3782854" y="2244933"/>
                  <a:chExt cx="2700000" cy="3574612"/>
                </a:xfrm>
              </p:grpSpPr>
              <p:sp>
                <p:nvSpPr>
                  <p:cNvPr id="25" name="Google Shape;1312;p104">
                    <a:extLst>
                      <a:ext uri="{FF2B5EF4-FFF2-40B4-BE49-F238E27FC236}">
                        <a16:creationId xmlns:a16="http://schemas.microsoft.com/office/drawing/2014/main" id="{5079FE47-599C-A134-BD23-C4276CD45296}"/>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6" name="Google Shape;1313;p104">
                    <a:extLst>
                      <a:ext uri="{FF2B5EF4-FFF2-40B4-BE49-F238E27FC236}">
                        <a16:creationId xmlns:a16="http://schemas.microsoft.com/office/drawing/2014/main" id="{2D8DBA23-B5AA-7C7E-5352-85936063FD9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7" name="Google Shape;1314;p104">
                    <a:extLst>
                      <a:ext uri="{FF2B5EF4-FFF2-40B4-BE49-F238E27FC236}">
                        <a16:creationId xmlns:a16="http://schemas.microsoft.com/office/drawing/2014/main" id="{3E44F633-6A18-C683-ECF0-C9ADF10A6E19}"/>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8" name="Google Shape;1315;p104">
                    <a:extLst>
                      <a:ext uri="{FF2B5EF4-FFF2-40B4-BE49-F238E27FC236}">
                        <a16:creationId xmlns:a16="http://schemas.microsoft.com/office/drawing/2014/main" id="{121E2F39-5F17-5BE0-0611-09179169AC61}"/>
                      </a:ext>
                    </a:extLst>
                  </p:cNvPr>
                  <p:cNvSpPr/>
                  <p:nvPr/>
                </p:nvSpPr>
                <p:spPr>
                  <a:xfrm>
                    <a:off x="4408827"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9" name="Google Shape;1316;p104">
                    <a:extLst>
                      <a:ext uri="{FF2B5EF4-FFF2-40B4-BE49-F238E27FC236}">
                        <a16:creationId xmlns:a16="http://schemas.microsoft.com/office/drawing/2014/main" id="{12C3754B-981F-6B16-F1BE-8BB0D99D64AF}"/>
                      </a:ext>
                    </a:extLst>
                  </p:cNvPr>
                  <p:cNvSpPr/>
                  <p:nvPr/>
                </p:nvSpPr>
                <p:spPr>
                  <a:xfrm>
                    <a:off x="4716593"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0" name="Google Shape;1317;p104">
                    <a:extLst>
                      <a:ext uri="{FF2B5EF4-FFF2-40B4-BE49-F238E27FC236}">
                        <a16:creationId xmlns:a16="http://schemas.microsoft.com/office/drawing/2014/main" id="{A771D895-B308-1CD3-1977-394DE6E698B4}"/>
                      </a:ext>
                    </a:extLst>
                  </p:cNvPr>
                  <p:cNvSpPr/>
                  <p:nvPr/>
                </p:nvSpPr>
                <p:spPr>
                  <a:xfrm>
                    <a:off x="5024359"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1" name="Google Shape;1318;p104">
                    <a:extLst>
                      <a:ext uri="{FF2B5EF4-FFF2-40B4-BE49-F238E27FC236}">
                        <a16:creationId xmlns:a16="http://schemas.microsoft.com/office/drawing/2014/main" id="{FF523CDD-A188-0AF8-9753-BA8B4EDA9277}"/>
                      </a:ext>
                    </a:extLst>
                  </p:cNvPr>
                  <p:cNvSpPr/>
                  <p:nvPr/>
                </p:nvSpPr>
                <p:spPr>
                  <a:xfrm>
                    <a:off x="5332125"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2" name="Google Shape;1304;p104">
                    <a:extLst>
                      <a:ext uri="{FF2B5EF4-FFF2-40B4-BE49-F238E27FC236}">
                        <a16:creationId xmlns:a16="http://schemas.microsoft.com/office/drawing/2014/main" id="{EFA1AC29-92D2-20E7-13DC-4F7BBD377B89}"/>
                      </a:ext>
                    </a:extLst>
                  </p:cNvPr>
                  <p:cNvSpPr/>
                  <p:nvPr/>
                </p:nvSpPr>
                <p:spPr>
                  <a:xfrm>
                    <a:off x="5639891"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3" name="Google Shape;1319;p104">
                    <a:extLst>
                      <a:ext uri="{FF2B5EF4-FFF2-40B4-BE49-F238E27FC236}">
                        <a16:creationId xmlns:a16="http://schemas.microsoft.com/office/drawing/2014/main" id="{17708D04-DFD1-3AA8-5438-2ABED82E0784}"/>
                      </a:ext>
                    </a:extLst>
                  </p:cNvPr>
                  <p:cNvSpPr/>
                  <p:nvPr/>
                </p:nvSpPr>
                <p:spPr>
                  <a:xfrm>
                    <a:off x="4408827" y="2898722"/>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4" name="Google Shape;1320;p104">
                    <a:extLst>
                      <a:ext uri="{FF2B5EF4-FFF2-40B4-BE49-F238E27FC236}">
                        <a16:creationId xmlns:a16="http://schemas.microsoft.com/office/drawing/2014/main" id="{5D52573B-7A52-96DF-FE8D-BDAF691182CA}"/>
                      </a:ext>
                    </a:extLst>
                  </p:cNvPr>
                  <p:cNvSpPr/>
                  <p:nvPr/>
                </p:nvSpPr>
                <p:spPr>
                  <a:xfrm>
                    <a:off x="4716593" y="2898722"/>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5" name="Google Shape;1321;p104">
                    <a:extLst>
                      <a:ext uri="{FF2B5EF4-FFF2-40B4-BE49-F238E27FC236}">
                        <a16:creationId xmlns:a16="http://schemas.microsoft.com/office/drawing/2014/main" id="{CF0739C7-09B9-EB4C-D223-070BF1267B17}"/>
                      </a:ext>
                    </a:extLst>
                  </p:cNvPr>
                  <p:cNvSpPr/>
                  <p:nvPr/>
                </p:nvSpPr>
                <p:spPr>
                  <a:xfrm>
                    <a:off x="5024358"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6" name="Google Shape;1322;p104">
                    <a:extLst>
                      <a:ext uri="{FF2B5EF4-FFF2-40B4-BE49-F238E27FC236}">
                        <a16:creationId xmlns:a16="http://schemas.microsoft.com/office/drawing/2014/main" id="{1EBFC678-0DB9-A4EB-AF0F-2895CB3F2C1E}"/>
                      </a:ext>
                    </a:extLst>
                  </p:cNvPr>
                  <p:cNvSpPr/>
                  <p:nvPr/>
                </p:nvSpPr>
                <p:spPr>
                  <a:xfrm>
                    <a:off x="5332124"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7" name="Google Shape;1297;p104">
                    <a:extLst>
                      <a:ext uri="{FF2B5EF4-FFF2-40B4-BE49-F238E27FC236}">
                        <a16:creationId xmlns:a16="http://schemas.microsoft.com/office/drawing/2014/main" id="{7E3B3FA9-E209-8C5B-B9BF-1CBC00206948}"/>
                      </a:ext>
                    </a:extLst>
                  </p:cNvPr>
                  <p:cNvSpPr/>
                  <p:nvPr/>
                </p:nvSpPr>
                <p:spPr>
                  <a:xfrm>
                    <a:off x="5639890"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8" name="Google Shape;1323;p104">
                    <a:extLst>
                      <a:ext uri="{FF2B5EF4-FFF2-40B4-BE49-F238E27FC236}">
                        <a16:creationId xmlns:a16="http://schemas.microsoft.com/office/drawing/2014/main" id="{B6507E11-EC29-4E46-39AD-4BB6E38FB301}"/>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39" name="Google Shape;1324;p104">
                    <a:extLst>
                      <a:ext uri="{FF2B5EF4-FFF2-40B4-BE49-F238E27FC236}">
                        <a16:creationId xmlns:a16="http://schemas.microsoft.com/office/drawing/2014/main" id="{C7469CDD-D524-16E5-551D-01955F32196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0" name="Google Shape;1325;p104">
                    <a:extLst>
                      <a:ext uri="{FF2B5EF4-FFF2-40B4-BE49-F238E27FC236}">
                        <a16:creationId xmlns:a16="http://schemas.microsoft.com/office/drawing/2014/main" id="{F7C5741F-5578-1AF1-4851-0A486B3F686F}"/>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1" name="Google Shape;1326;p104">
                    <a:extLst>
                      <a:ext uri="{FF2B5EF4-FFF2-40B4-BE49-F238E27FC236}">
                        <a16:creationId xmlns:a16="http://schemas.microsoft.com/office/drawing/2014/main" id="{CC7386CC-0505-DBCC-AF06-AFA69ED717C9}"/>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2" name="Google Shape;1327;p104">
                    <a:extLst>
                      <a:ext uri="{FF2B5EF4-FFF2-40B4-BE49-F238E27FC236}">
                        <a16:creationId xmlns:a16="http://schemas.microsoft.com/office/drawing/2014/main" id="{BE4A57EE-E044-A301-EF2C-BED0F57FA70A}"/>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3" name="Google Shape;1328;p104">
                    <a:extLst>
                      <a:ext uri="{FF2B5EF4-FFF2-40B4-BE49-F238E27FC236}">
                        <a16:creationId xmlns:a16="http://schemas.microsoft.com/office/drawing/2014/main" id="{3F3E4707-9FC5-99ED-5D71-20C2D5994A81}"/>
                      </a:ext>
                    </a:extLst>
                  </p:cNvPr>
                  <p:cNvSpPr/>
                  <p:nvPr/>
                </p:nvSpPr>
                <p:spPr>
                  <a:xfrm>
                    <a:off x="4421383" y="3653839"/>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4" name="Google Shape;1329;p104">
                    <a:extLst>
                      <a:ext uri="{FF2B5EF4-FFF2-40B4-BE49-F238E27FC236}">
                        <a16:creationId xmlns:a16="http://schemas.microsoft.com/office/drawing/2014/main" id="{9A8EA917-3A44-7139-87AD-F9EC0728A680}"/>
                      </a:ext>
                    </a:extLst>
                  </p:cNvPr>
                  <p:cNvSpPr/>
                  <p:nvPr/>
                </p:nvSpPr>
                <p:spPr>
                  <a:xfrm>
                    <a:off x="4729149" y="3653839"/>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5" name="Google Shape;1330;p104">
                    <a:extLst>
                      <a:ext uri="{FF2B5EF4-FFF2-40B4-BE49-F238E27FC236}">
                        <a16:creationId xmlns:a16="http://schemas.microsoft.com/office/drawing/2014/main" id="{FFC0B55C-39BF-5CAE-ED00-CF1AAB1A0E5C}"/>
                      </a:ext>
                    </a:extLst>
                  </p:cNvPr>
                  <p:cNvSpPr/>
                  <p:nvPr/>
                </p:nvSpPr>
                <p:spPr>
                  <a:xfrm>
                    <a:off x="5036914"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6" name="Google Shape;1331;p104">
                    <a:extLst>
                      <a:ext uri="{FF2B5EF4-FFF2-40B4-BE49-F238E27FC236}">
                        <a16:creationId xmlns:a16="http://schemas.microsoft.com/office/drawing/2014/main" id="{5DD1DF85-5880-3DBC-D19F-84A8C181A8D1}"/>
                      </a:ext>
                    </a:extLst>
                  </p:cNvPr>
                  <p:cNvSpPr/>
                  <p:nvPr/>
                </p:nvSpPr>
                <p:spPr>
                  <a:xfrm>
                    <a:off x="5344680"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7" name="Google Shape;1332;p104">
                    <a:extLst>
                      <a:ext uri="{FF2B5EF4-FFF2-40B4-BE49-F238E27FC236}">
                        <a16:creationId xmlns:a16="http://schemas.microsoft.com/office/drawing/2014/main" id="{88299F6F-8805-751B-ADEE-BF0CD75A6124}"/>
                      </a:ext>
                    </a:extLst>
                  </p:cNvPr>
                  <p:cNvSpPr/>
                  <p:nvPr/>
                </p:nvSpPr>
                <p:spPr>
                  <a:xfrm>
                    <a:off x="5652446"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8" name="Google Shape;1333;p104">
                    <a:extLst>
                      <a:ext uri="{FF2B5EF4-FFF2-40B4-BE49-F238E27FC236}">
                        <a16:creationId xmlns:a16="http://schemas.microsoft.com/office/drawing/2014/main" id="{CF64522E-403A-03F8-6A2C-40ED44B5E3A5}"/>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49" name="Google Shape;1334;p104">
                    <a:extLst>
                      <a:ext uri="{FF2B5EF4-FFF2-40B4-BE49-F238E27FC236}">
                        <a16:creationId xmlns:a16="http://schemas.microsoft.com/office/drawing/2014/main" id="{91069B41-4C43-24DB-A809-E7DFB1ED4D14}"/>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0" name="Google Shape;1335;p104">
                    <a:extLst>
                      <a:ext uri="{FF2B5EF4-FFF2-40B4-BE49-F238E27FC236}">
                        <a16:creationId xmlns:a16="http://schemas.microsoft.com/office/drawing/2014/main" id="{8B8149E1-0BA5-501B-D6DA-82553AFC8016}"/>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1" name="Google Shape;1336;p104">
                    <a:extLst>
                      <a:ext uri="{FF2B5EF4-FFF2-40B4-BE49-F238E27FC236}">
                        <a16:creationId xmlns:a16="http://schemas.microsoft.com/office/drawing/2014/main" id="{2C429B3A-B535-189D-44AB-C000227A8D66}"/>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2" name="Google Shape;1337;p104">
                    <a:extLst>
                      <a:ext uri="{FF2B5EF4-FFF2-40B4-BE49-F238E27FC236}">
                        <a16:creationId xmlns:a16="http://schemas.microsoft.com/office/drawing/2014/main" id="{03EAD489-B340-22F1-3DE1-27FC20B4E430}"/>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3" name="Google Shape;1338;p104">
                    <a:extLst>
                      <a:ext uri="{FF2B5EF4-FFF2-40B4-BE49-F238E27FC236}">
                        <a16:creationId xmlns:a16="http://schemas.microsoft.com/office/drawing/2014/main" id="{BC7BDEC7-21A8-687C-5FF8-DE2D5E7D5C21}"/>
                      </a:ext>
                    </a:extLst>
                  </p:cNvPr>
                  <p:cNvSpPr/>
                  <p:nvPr/>
                </p:nvSpPr>
                <p:spPr>
                  <a:xfrm>
                    <a:off x="4421382" y="4406686"/>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4" name="Google Shape;1339;p104">
                    <a:extLst>
                      <a:ext uri="{FF2B5EF4-FFF2-40B4-BE49-F238E27FC236}">
                        <a16:creationId xmlns:a16="http://schemas.microsoft.com/office/drawing/2014/main" id="{E5A8D4AB-7BB9-2ADB-170D-5AE12AE11CB3}"/>
                      </a:ext>
                    </a:extLst>
                  </p:cNvPr>
                  <p:cNvSpPr/>
                  <p:nvPr/>
                </p:nvSpPr>
                <p:spPr>
                  <a:xfrm>
                    <a:off x="4729149"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5" name="Google Shape;1340;p104">
                    <a:extLst>
                      <a:ext uri="{FF2B5EF4-FFF2-40B4-BE49-F238E27FC236}">
                        <a16:creationId xmlns:a16="http://schemas.microsoft.com/office/drawing/2014/main" id="{DC8FA3CD-28D1-49A1-BC5D-FFAD3A62B81B}"/>
                      </a:ext>
                    </a:extLst>
                  </p:cNvPr>
                  <p:cNvSpPr/>
                  <p:nvPr/>
                </p:nvSpPr>
                <p:spPr>
                  <a:xfrm>
                    <a:off x="5036915"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6" name="Google Shape;1341;p104">
                    <a:extLst>
                      <a:ext uri="{FF2B5EF4-FFF2-40B4-BE49-F238E27FC236}">
                        <a16:creationId xmlns:a16="http://schemas.microsoft.com/office/drawing/2014/main" id="{9F4FB8C1-A356-D30E-93D3-683F071FCBE9}"/>
                      </a:ext>
                    </a:extLst>
                  </p:cNvPr>
                  <p:cNvSpPr/>
                  <p:nvPr/>
                </p:nvSpPr>
                <p:spPr>
                  <a:xfrm>
                    <a:off x="5344681"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7" name="Google Shape;1342;p104">
                    <a:extLst>
                      <a:ext uri="{FF2B5EF4-FFF2-40B4-BE49-F238E27FC236}">
                        <a16:creationId xmlns:a16="http://schemas.microsoft.com/office/drawing/2014/main" id="{C59489DA-E253-C358-8ABF-D485D1356380}"/>
                      </a:ext>
                    </a:extLst>
                  </p:cNvPr>
                  <p:cNvSpPr/>
                  <p:nvPr/>
                </p:nvSpPr>
                <p:spPr>
                  <a:xfrm>
                    <a:off x="5652447"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8" name="Google Shape;1343;p104">
                    <a:extLst>
                      <a:ext uri="{FF2B5EF4-FFF2-40B4-BE49-F238E27FC236}">
                        <a16:creationId xmlns:a16="http://schemas.microsoft.com/office/drawing/2014/main" id="{4BE8A6E3-909C-1ED0-D24B-1794F09C4ECC}"/>
                      </a:ext>
                    </a:extLst>
                  </p:cNvPr>
                  <p:cNvSpPr/>
                  <p:nvPr/>
                </p:nvSpPr>
                <p:spPr>
                  <a:xfrm>
                    <a:off x="4422629"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59" name="Google Shape;1344;p104">
                    <a:extLst>
                      <a:ext uri="{FF2B5EF4-FFF2-40B4-BE49-F238E27FC236}">
                        <a16:creationId xmlns:a16="http://schemas.microsoft.com/office/drawing/2014/main" id="{160101F8-D1B5-7A9F-DDE2-14BD9EBC1567}"/>
                      </a:ext>
                    </a:extLst>
                  </p:cNvPr>
                  <p:cNvSpPr/>
                  <p:nvPr/>
                </p:nvSpPr>
                <p:spPr>
                  <a:xfrm>
                    <a:off x="4730395"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0" name="Google Shape;1345;p104">
                    <a:extLst>
                      <a:ext uri="{FF2B5EF4-FFF2-40B4-BE49-F238E27FC236}">
                        <a16:creationId xmlns:a16="http://schemas.microsoft.com/office/drawing/2014/main" id="{A4C07864-39AF-05FD-0931-D0AB139277AE}"/>
                      </a:ext>
                    </a:extLst>
                  </p:cNvPr>
                  <p:cNvSpPr/>
                  <p:nvPr/>
                </p:nvSpPr>
                <p:spPr>
                  <a:xfrm>
                    <a:off x="5038161"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1" name="Google Shape;1346;p104">
                    <a:extLst>
                      <a:ext uri="{FF2B5EF4-FFF2-40B4-BE49-F238E27FC236}">
                        <a16:creationId xmlns:a16="http://schemas.microsoft.com/office/drawing/2014/main" id="{30BF5EA7-5212-3614-E451-F9F88930001B}"/>
                      </a:ext>
                    </a:extLst>
                  </p:cNvPr>
                  <p:cNvSpPr/>
                  <p:nvPr/>
                </p:nvSpPr>
                <p:spPr>
                  <a:xfrm>
                    <a:off x="5345927"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2" name="Google Shape;1347;p104">
                    <a:extLst>
                      <a:ext uri="{FF2B5EF4-FFF2-40B4-BE49-F238E27FC236}">
                        <a16:creationId xmlns:a16="http://schemas.microsoft.com/office/drawing/2014/main" id="{5A4AC6CC-0A70-0090-5EE6-5194EA0EF4BE}"/>
                      </a:ext>
                    </a:extLst>
                  </p:cNvPr>
                  <p:cNvSpPr/>
                  <p:nvPr/>
                </p:nvSpPr>
                <p:spPr>
                  <a:xfrm>
                    <a:off x="5653693"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3" name="Google Shape;1348;p104">
                    <a:extLst>
                      <a:ext uri="{FF2B5EF4-FFF2-40B4-BE49-F238E27FC236}">
                        <a16:creationId xmlns:a16="http://schemas.microsoft.com/office/drawing/2014/main" id="{9EF6C6AC-EACC-775A-A522-D3F0B539A731}"/>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4" name="Google Shape;1349;p104">
                    <a:extLst>
                      <a:ext uri="{FF2B5EF4-FFF2-40B4-BE49-F238E27FC236}">
                        <a16:creationId xmlns:a16="http://schemas.microsoft.com/office/drawing/2014/main" id="{753D1356-E641-08F0-A7BF-D43488B0F670}"/>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65" name="Google Shape;1350;p104">
                    <a:extLst>
                      <a:ext uri="{FF2B5EF4-FFF2-40B4-BE49-F238E27FC236}">
                        <a16:creationId xmlns:a16="http://schemas.microsoft.com/office/drawing/2014/main" id="{FC5202A0-3821-48D2-A1FE-93D546BB1D4C}"/>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grpSp>
            <p:sp>
              <p:nvSpPr>
                <p:cNvPr id="20" name="Google Shape;1351;p104">
                  <a:extLst>
                    <a:ext uri="{FF2B5EF4-FFF2-40B4-BE49-F238E27FC236}">
                      <a16:creationId xmlns:a16="http://schemas.microsoft.com/office/drawing/2014/main" id="{9ACC593A-9919-1799-8ABB-A64A666F9F26}"/>
                    </a:ext>
                  </a:extLst>
                </p:cNvPr>
                <p:cNvSpPr/>
                <p:nvPr/>
              </p:nvSpPr>
              <p:spPr>
                <a:xfrm>
                  <a:off x="9379551"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1" name="Google Shape;1352;p104">
                  <a:extLst>
                    <a:ext uri="{FF2B5EF4-FFF2-40B4-BE49-F238E27FC236}">
                      <a16:creationId xmlns:a16="http://schemas.microsoft.com/office/drawing/2014/main" id="{E3C94D93-CA24-69BA-42B5-5D6F6FBA9C87}"/>
                    </a:ext>
                  </a:extLst>
                </p:cNvPr>
                <p:cNvSpPr/>
                <p:nvPr/>
              </p:nvSpPr>
              <p:spPr>
                <a:xfrm>
                  <a:off x="9309824"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grpSp>
              <p:nvGrpSpPr>
                <p:cNvPr id="22" name="Google Shape;1353;p104">
                  <a:extLst>
                    <a:ext uri="{FF2B5EF4-FFF2-40B4-BE49-F238E27FC236}">
                      <a16:creationId xmlns:a16="http://schemas.microsoft.com/office/drawing/2014/main" id="{0AB390BF-7008-068F-6AE5-832A8CF4B9AE}"/>
                    </a:ext>
                  </a:extLst>
                </p:cNvPr>
                <p:cNvGrpSpPr/>
                <p:nvPr/>
              </p:nvGrpSpPr>
              <p:grpSpPr>
                <a:xfrm>
                  <a:off x="9098030" y="4400279"/>
                  <a:ext cx="306080" cy="1067964"/>
                  <a:chOff x="4674181" y="4705830"/>
                  <a:chExt cx="275700" cy="823920"/>
                </a:xfrm>
              </p:grpSpPr>
              <p:sp>
                <p:nvSpPr>
                  <p:cNvPr id="23" name="Google Shape;1354;p104">
                    <a:extLst>
                      <a:ext uri="{FF2B5EF4-FFF2-40B4-BE49-F238E27FC236}">
                        <a16:creationId xmlns:a16="http://schemas.microsoft.com/office/drawing/2014/main" id="{4C6A7B9E-69AE-501D-1378-FDD8B8D94959}"/>
                      </a:ext>
                    </a:extLst>
                  </p:cNvPr>
                  <p:cNvSpPr/>
                  <p:nvPr/>
                </p:nvSpPr>
                <p:spPr>
                  <a:xfrm>
                    <a:off x="477588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sp>
                <p:nvSpPr>
                  <p:cNvPr id="24" name="Google Shape;1355;p104">
                    <a:extLst>
                      <a:ext uri="{FF2B5EF4-FFF2-40B4-BE49-F238E27FC236}">
                        <a16:creationId xmlns:a16="http://schemas.microsoft.com/office/drawing/2014/main" id="{EA992CF0-F97D-F076-9A7A-DB43E7EF8384}"/>
                      </a:ext>
                    </a:extLst>
                  </p:cNvPr>
                  <p:cNvSpPr/>
                  <p:nvPr/>
                </p:nvSpPr>
                <p:spPr>
                  <a:xfrm>
                    <a:off x="4674181"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CA" sz="1800" dirty="0">
                      <a:solidFill>
                        <a:srgbClr val="F1F2F2"/>
                      </a:solidFill>
                      <a:latin typeface="Arial"/>
                      <a:ea typeface="Arial"/>
                      <a:cs typeface="Arial"/>
                      <a:sym typeface="Arial"/>
                    </a:endParaRPr>
                  </a:p>
                </p:txBody>
              </p:sp>
            </p:grpSp>
          </p:grpSp>
          <p:sp>
            <p:nvSpPr>
              <p:cNvPr id="18" name="Google Shape;1357;p104" descr="Bicycle Icon">
                <a:extLst>
                  <a:ext uri="{FF2B5EF4-FFF2-40B4-BE49-F238E27FC236}">
                    <a16:creationId xmlns:a16="http://schemas.microsoft.com/office/drawing/2014/main" id="{70058B1D-0A8A-760D-BED4-2BB0341C1D65}"/>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en-CA" sz="1800" dirty="0">
                  <a:solidFill>
                    <a:srgbClr val="000000"/>
                  </a:solidFill>
                  <a:latin typeface="Arial"/>
                  <a:ea typeface="Arial"/>
                  <a:cs typeface="Arial"/>
                  <a:sym typeface="Arial"/>
                </a:endParaRPr>
              </a:p>
            </p:txBody>
          </p:sp>
        </p:grpSp>
        <p:sp>
          <p:nvSpPr>
            <p:cNvPr id="16" name="Title 2">
              <a:extLst>
                <a:ext uri="{FF2B5EF4-FFF2-40B4-BE49-F238E27FC236}">
                  <a16:creationId xmlns:a16="http://schemas.microsoft.com/office/drawing/2014/main" id="{9FC768E5-1F64-2B56-E0C1-44C03EE92B56}"/>
                </a:ext>
              </a:extLst>
            </p:cNvPr>
            <p:cNvSpPr txBox="1">
              <a:spLocks/>
            </p:cNvSpPr>
            <p:nvPr>
              <p:custDataLst>
                <p:tags r:id="rId7"/>
              </p:custDataLst>
            </p:nvPr>
          </p:nvSpPr>
          <p:spPr>
            <a:xfrm>
              <a:off x="2578923" y="2219562"/>
              <a:ext cx="4078669" cy="60990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CA" sz="2100" b="1" dirty="0">
                  <a:latin typeface="+mn-lt"/>
                  <a:cs typeface="Arial" panose="020B0604020202020204" pitchFamily="34" charset="0"/>
                </a:rPr>
                <a:t>Example of neighborhoods</a:t>
              </a:r>
              <a:endParaRPr kumimoji="0" lang="en-CA" sz="2100" b="1" i="0" strike="noStrike" kern="1200" cap="none" spc="0" normalizeH="0" baseline="0" noProof="0" dirty="0">
                <a:ln>
                  <a:noFill/>
                </a:ln>
                <a:effectLst/>
                <a:uLnTx/>
                <a:uFillTx/>
                <a:latin typeface="+mn-lt"/>
                <a:cs typeface="Arial" panose="020B0604020202020204" pitchFamily="34" charset="0"/>
              </a:endParaRPr>
            </a:p>
          </p:txBody>
        </p:sp>
      </p:grpSp>
    </p:spTree>
    <p:extLst>
      <p:ext uri="{BB962C8B-B14F-4D97-AF65-F5344CB8AC3E}">
        <p14:creationId xmlns:p14="http://schemas.microsoft.com/office/powerpoint/2010/main" val="1022071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rgbClr val="5B5B5B"/>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8414986"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ntribute to the success of the initiative</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7">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graphicFrame>
        <p:nvGraphicFramePr>
          <p:cNvPr id="17" name="Diagramme 16" descr="Experiement, think of others and be patient">
            <a:extLst>
              <a:ext uri="{FF2B5EF4-FFF2-40B4-BE49-F238E27FC236}">
                <a16:creationId xmlns:a16="http://schemas.microsoft.com/office/drawing/2014/main" id="{C41D58B7-6B00-125B-22E9-8018C129AE87}"/>
              </a:ext>
            </a:extLst>
          </p:cNvPr>
          <p:cNvGraphicFramePr/>
          <p:nvPr>
            <p:custDataLst>
              <p:tags r:id="rId4"/>
            </p:custDataLst>
            <p:extLst>
              <p:ext uri="{D42A27DB-BD31-4B8C-83A1-F6EECF244321}">
                <p14:modId xmlns:p14="http://schemas.microsoft.com/office/powerpoint/2010/main" val="1348437187"/>
              </p:ext>
            </p:extLst>
          </p:nvPr>
        </p:nvGraphicFramePr>
        <p:xfrm>
          <a:off x="1880753" y="1123699"/>
          <a:ext cx="8595591" cy="46108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278333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imeline</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59">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sp>
        <p:nvSpPr>
          <p:cNvPr id="16" name="ZoneTexte 15">
            <a:extLst>
              <a:ext uri="{FF2B5EF4-FFF2-40B4-BE49-F238E27FC236}">
                <a16:creationId xmlns:a16="http://schemas.microsoft.com/office/drawing/2014/main" id="{2C35CEA1-D994-28EA-4A4F-631EDF5BE865}"/>
              </a:ext>
            </a:extLst>
          </p:cNvPr>
          <p:cNvSpPr txBox="1"/>
          <p:nvPr>
            <p:custDataLst>
              <p:tags r:id="rId4"/>
            </p:custDataLst>
          </p:nvPr>
        </p:nvSpPr>
        <p:spPr>
          <a:xfrm>
            <a:off x="138419" y="2178538"/>
            <a:ext cx="2223252" cy="523220"/>
          </a:xfrm>
          <a:prstGeom prst="rect">
            <a:avLst/>
          </a:prstGeom>
          <a:noFill/>
        </p:spPr>
        <p:txBody>
          <a:bodyPr wrap="square" rtlCol="0">
            <a:spAutoFit/>
          </a:bodyPr>
          <a:lstStyle/>
          <a:p>
            <a:pPr algn="ctr"/>
            <a:r>
              <a:rPr lang="fr-CA" sz="1400" dirty="0"/>
              <a:t>Communication and change management</a:t>
            </a:r>
          </a:p>
        </p:txBody>
      </p:sp>
      <p:sp>
        <p:nvSpPr>
          <p:cNvPr id="5" name="ZoneTexte 4">
            <a:extLst>
              <a:ext uri="{FF2B5EF4-FFF2-40B4-BE49-F238E27FC236}">
                <a16:creationId xmlns:a16="http://schemas.microsoft.com/office/drawing/2014/main" id="{A4374EFD-96BA-20EC-CC27-A13CEB0C6400}"/>
              </a:ext>
            </a:extLst>
          </p:cNvPr>
          <p:cNvSpPr txBox="1"/>
          <p:nvPr>
            <p:custDataLst>
              <p:tags r:id="rId5"/>
            </p:custDataLst>
          </p:nvPr>
        </p:nvSpPr>
        <p:spPr>
          <a:xfrm>
            <a:off x="1181605" y="4989616"/>
            <a:ext cx="2063105" cy="369332"/>
          </a:xfrm>
          <a:prstGeom prst="rect">
            <a:avLst/>
          </a:prstGeom>
          <a:noFill/>
        </p:spPr>
        <p:txBody>
          <a:bodyPr wrap="square" rtlCol="0">
            <a:spAutoFit/>
          </a:bodyPr>
          <a:lstStyle/>
          <a:p>
            <a:pPr algn="ctr"/>
            <a:r>
              <a:rPr lang="fr-CA" dirty="0"/>
              <a:t>Date</a:t>
            </a:r>
          </a:p>
        </p:txBody>
      </p:sp>
      <p:sp>
        <p:nvSpPr>
          <p:cNvPr id="6" name="ZoneTexte 5">
            <a:extLst>
              <a:ext uri="{FF2B5EF4-FFF2-40B4-BE49-F238E27FC236}">
                <a16:creationId xmlns:a16="http://schemas.microsoft.com/office/drawing/2014/main" id="{1EEE46AB-E199-BFF5-8717-7CE4227F668E}"/>
              </a:ext>
            </a:extLst>
          </p:cNvPr>
          <p:cNvSpPr txBox="1"/>
          <p:nvPr>
            <p:custDataLst>
              <p:tags r:id="rId6"/>
            </p:custDataLst>
          </p:nvPr>
        </p:nvSpPr>
        <p:spPr>
          <a:xfrm>
            <a:off x="443883" y="5342908"/>
            <a:ext cx="3625075" cy="646331"/>
          </a:xfrm>
          <a:prstGeom prst="rect">
            <a:avLst/>
          </a:prstGeom>
          <a:noFill/>
        </p:spPr>
        <p:txBody>
          <a:bodyPr wrap="square" rtlCol="0">
            <a:spAutoFit/>
          </a:bodyPr>
          <a:lstStyle/>
          <a:p>
            <a:pPr algn="ctr"/>
            <a:r>
              <a:rPr lang="fr-CA" b="1" dirty="0"/>
              <a:t>Removal of personal and business assets </a:t>
            </a:r>
          </a:p>
        </p:txBody>
      </p:sp>
      <p:sp>
        <p:nvSpPr>
          <p:cNvPr id="7" name="ZoneTexte 6">
            <a:extLst>
              <a:ext uri="{FF2B5EF4-FFF2-40B4-BE49-F238E27FC236}">
                <a16:creationId xmlns:a16="http://schemas.microsoft.com/office/drawing/2014/main" id="{F6FC4EB5-6A97-F3B8-AEBA-5B4EDA1C15B9}"/>
              </a:ext>
            </a:extLst>
          </p:cNvPr>
          <p:cNvSpPr txBox="1"/>
          <p:nvPr>
            <p:custDataLst>
              <p:tags r:id="rId7"/>
            </p:custDataLst>
          </p:nvPr>
        </p:nvSpPr>
        <p:spPr>
          <a:xfrm>
            <a:off x="2770660" y="888139"/>
            <a:ext cx="2374521" cy="369332"/>
          </a:xfrm>
          <a:prstGeom prst="rect">
            <a:avLst/>
          </a:prstGeom>
          <a:noFill/>
        </p:spPr>
        <p:txBody>
          <a:bodyPr wrap="square" rtlCol="0">
            <a:spAutoFit/>
          </a:bodyPr>
          <a:lstStyle/>
          <a:p>
            <a:pPr algn="ctr"/>
            <a:r>
              <a:rPr lang="fr-CA" dirty="0"/>
              <a:t>Date</a:t>
            </a:r>
          </a:p>
        </p:txBody>
      </p:sp>
      <p:sp>
        <p:nvSpPr>
          <p:cNvPr id="10" name="ZoneTexte 9">
            <a:extLst>
              <a:ext uri="{FF2B5EF4-FFF2-40B4-BE49-F238E27FC236}">
                <a16:creationId xmlns:a16="http://schemas.microsoft.com/office/drawing/2014/main" id="{64B9E736-275C-70FF-647F-AD66A2CAF66F}"/>
              </a:ext>
            </a:extLst>
          </p:cNvPr>
          <p:cNvSpPr txBox="1"/>
          <p:nvPr>
            <p:custDataLst>
              <p:tags r:id="rId8"/>
            </p:custDataLst>
          </p:nvPr>
        </p:nvSpPr>
        <p:spPr>
          <a:xfrm>
            <a:off x="2304365" y="1260772"/>
            <a:ext cx="3471187" cy="369332"/>
          </a:xfrm>
          <a:prstGeom prst="rect">
            <a:avLst/>
          </a:prstGeom>
          <a:noFill/>
        </p:spPr>
        <p:txBody>
          <a:bodyPr wrap="square" rtlCol="0">
            <a:spAutoFit/>
          </a:bodyPr>
          <a:lstStyle/>
          <a:p>
            <a:pPr algn="ctr"/>
            <a:r>
              <a:rPr lang="fr-CA" b="1" dirty="0"/>
              <a:t>Closing the XYZ floor</a:t>
            </a:r>
          </a:p>
        </p:txBody>
      </p:sp>
      <p:sp>
        <p:nvSpPr>
          <p:cNvPr id="9" name="ZoneTexte 8">
            <a:extLst>
              <a:ext uri="{FF2B5EF4-FFF2-40B4-BE49-F238E27FC236}">
                <a16:creationId xmlns:a16="http://schemas.microsoft.com/office/drawing/2014/main" id="{92F5A39C-7194-FD3B-3DAF-BF8DE677C204}"/>
              </a:ext>
            </a:extLst>
          </p:cNvPr>
          <p:cNvSpPr txBox="1"/>
          <p:nvPr>
            <p:custDataLst>
              <p:tags r:id="rId9"/>
            </p:custDataLst>
          </p:nvPr>
        </p:nvSpPr>
        <p:spPr>
          <a:xfrm>
            <a:off x="4744000" y="5027841"/>
            <a:ext cx="2063105" cy="369332"/>
          </a:xfrm>
          <a:prstGeom prst="rect">
            <a:avLst/>
          </a:prstGeom>
          <a:noFill/>
        </p:spPr>
        <p:txBody>
          <a:bodyPr wrap="square" rtlCol="0">
            <a:spAutoFit/>
          </a:bodyPr>
          <a:lstStyle/>
          <a:p>
            <a:pPr algn="ctr"/>
            <a:r>
              <a:rPr lang="fr-CA" dirty="0"/>
              <a:t>Date</a:t>
            </a:r>
          </a:p>
        </p:txBody>
      </p:sp>
      <p:sp>
        <p:nvSpPr>
          <p:cNvPr id="12" name="ZoneTexte 11">
            <a:extLst>
              <a:ext uri="{FF2B5EF4-FFF2-40B4-BE49-F238E27FC236}">
                <a16:creationId xmlns:a16="http://schemas.microsoft.com/office/drawing/2014/main" id="{5A496BE1-88E1-E380-0EE2-6F47622AF956}"/>
              </a:ext>
            </a:extLst>
          </p:cNvPr>
          <p:cNvSpPr txBox="1"/>
          <p:nvPr>
            <p:custDataLst>
              <p:tags r:id="rId10"/>
            </p:custDataLst>
          </p:nvPr>
        </p:nvSpPr>
        <p:spPr>
          <a:xfrm>
            <a:off x="4219152" y="5325388"/>
            <a:ext cx="3471187" cy="369332"/>
          </a:xfrm>
          <a:prstGeom prst="rect">
            <a:avLst/>
          </a:prstGeom>
          <a:noFill/>
        </p:spPr>
        <p:txBody>
          <a:bodyPr wrap="square" rtlCol="0">
            <a:spAutoFit/>
          </a:bodyPr>
          <a:lstStyle/>
          <a:p>
            <a:pPr algn="ctr"/>
            <a:r>
              <a:rPr lang="fr-CA" b="1" dirty="0"/>
              <a:t>Closing the XYZ floor</a:t>
            </a:r>
          </a:p>
        </p:txBody>
      </p:sp>
      <p:sp>
        <p:nvSpPr>
          <p:cNvPr id="11" name="ZoneTexte 10">
            <a:extLst>
              <a:ext uri="{FF2B5EF4-FFF2-40B4-BE49-F238E27FC236}">
                <a16:creationId xmlns:a16="http://schemas.microsoft.com/office/drawing/2014/main" id="{801E6EFE-3786-B503-900D-AB1C052C5DC7}"/>
              </a:ext>
            </a:extLst>
          </p:cNvPr>
          <p:cNvSpPr txBox="1"/>
          <p:nvPr>
            <p:custDataLst>
              <p:tags r:id="rId11"/>
            </p:custDataLst>
          </p:nvPr>
        </p:nvSpPr>
        <p:spPr>
          <a:xfrm>
            <a:off x="6534013" y="865752"/>
            <a:ext cx="1976523" cy="369332"/>
          </a:xfrm>
          <a:prstGeom prst="rect">
            <a:avLst/>
          </a:prstGeom>
          <a:noFill/>
        </p:spPr>
        <p:txBody>
          <a:bodyPr wrap="square" rtlCol="0">
            <a:spAutoFit/>
          </a:bodyPr>
          <a:lstStyle/>
          <a:p>
            <a:pPr algn="ctr"/>
            <a:r>
              <a:rPr lang="fr-CA" dirty="0"/>
              <a:t>Date</a:t>
            </a:r>
          </a:p>
        </p:txBody>
      </p:sp>
      <p:sp>
        <p:nvSpPr>
          <p:cNvPr id="13" name="ZoneTexte 12">
            <a:extLst>
              <a:ext uri="{FF2B5EF4-FFF2-40B4-BE49-F238E27FC236}">
                <a16:creationId xmlns:a16="http://schemas.microsoft.com/office/drawing/2014/main" id="{918BF31B-5C95-6A42-7144-947D2223A772}"/>
              </a:ext>
            </a:extLst>
          </p:cNvPr>
          <p:cNvSpPr txBox="1"/>
          <p:nvPr>
            <p:custDataLst>
              <p:tags r:id="rId12"/>
            </p:custDataLst>
          </p:nvPr>
        </p:nvSpPr>
        <p:spPr>
          <a:xfrm>
            <a:off x="5849772" y="1257471"/>
            <a:ext cx="3487205" cy="369332"/>
          </a:xfrm>
          <a:prstGeom prst="rect">
            <a:avLst/>
          </a:prstGeom>
          <a:noFill/>
        </p:spPr>
        <p:txBody>
          <a:bodyPr wrap="square" rtlCol="0">
            <a:spAutoFit/>
          </a:bodyPr>
          <a:lstStyle/>
          <a:p>
            <a:pPr algn="ctr"/>
            <a:r>
              <a:rPr lang="fr-CA" b="1" dirty="0"/>
              <a:t>Closing the XYZ floor</a:t>
            </a:r>
          </a:p>
        </p:txBody>
      </p:sp>
      <p:sp>
        <p:nvSpPr>
          <p:cNvPr id="14" name="ZoneTexte 13">
            <a:extLst>
              <a:ext uri="{FF2B5EF4-FFF2-40B4-BE49-F238E27FC236}">
                <a16:creationId xmlns:a16="http://schemas.microsoft.com/office/drawing/2014/main" id="{CCB72D98-435F-5CEC-6FB4-919D7DBD56AE}"/>
              </a:ext>
            </a:extLst>
          </p:cNvPr>
          <p:cNvSpPr txBox="1"/>
          <p:nvPr>
            <p:custDataLst>
              <p:tags r:id="rId13"/>
            </p:custDataLst>
          </p:nvPr>
        </p:nvSpPr>
        <p:spPr>
          <a:xfrm>
            <a:off x="8296913" y="5056419"/>
            <a:ext cx="2155227" cy="369332"/>
          </a:xfrm>
          <a:prstGeom prst="rect">
            <a:avLst/>
          </a:prstGeom>
          <a:noFill/>
        </p:spPr>
        <p:txBody>
          <a:bodyPr wrap="square" rtlCol="0">
            <a:spAutoFit/>
          </a:bodyPr>
          <a:lstStyle/>
          <a:p>
            <a:pPr algn="ctr"/>
            <a:r>
              <a:rPr lang="fr-CA" dirty="0"/>
              <a:t>Date</a:t>
            </a:r>
          </a:p>
        </p:txBody>
      </p:sp>
      <p:sp>
        <p:nvSpPr>
          <p:cNvPr id="15" name="ZoneTexte 14">
            <a:extLst>
              <a:ext uri="{FF2B5EF4-FFF2-40B4-BE49-F238E27FC236}">
                <a16:creationId xmlns:a16="http://schemas.microsoft.com/office/drawing/2014/main" id="{88223E01-4461-3929-D0F3-0D9E480586ED}"/>
              </a:ext>
            </a:extLst>
          </p:cNvPr>
          <p:cNvSpPr txBox="1"/>
          <p:nvPr>
            <p:custDataLst>
              <p:tags r:id="rId14"/>
            </p:custDataLst>
          </p:nvPr>
        </p:nvSpPr>
        <p:spPr>
          <a:xfrm>
            <a:off x="7926569" y="5392121"/>
            <a:ext cx="3034194" cy="646331"/>
          </a:xfrm>
          <a:prstGeom prst="rect">
            <a:avLst/>
          </a:prstGeom>
          <a:noFill/>
        </p:spPr>
        <p:txBody>
          <a:bodyPr wrap="square" rtlCol="0">
            <a:spAutoFit/>
          </a:bodyPr>
          <a:lstStyle/>
          <a:p>
            <a:pPr algn="ctr"/>
            <a:r>
              <a:rPr lang="fr-CA" b="1" dirty="0"/>
              <a:t>Optimization completed</a:t>
            </a:r>
          </a:p>
        </p:txBody>
      </p:sp>
      <p:sp>
        <p:nvSpPr>
          <p:cNvPr id="17" name="Ellipse 16">
            <a:extLst>
              <a:ext uri="{FF2B5EF4-FFF2-40B4-BE49-F238E27FC236}">
                <a16:creationId xmlns:a16="http://schemas.microsoft.com/office/drawing/2014/main" id="{66FF4875-49A7-FD78-EF0A-747DFB4CD1C8}"/>
              </a:ext>
              <a:ext uri="{C183D7F6-B498-43B3-948B-1728B52AA6E4}">
                <adec:decorative xmlns:adec="http://schemas.microsoft.com/office/drawing/2017/decorative" val="1"/>
              </a:ext>
            </a:extLst>
          </p:cNvPr>
          <p:cNvSpPr/>
          <p:nvPr>
            <p:custDataLst>
              <p:tags r:id="rId15"/>
            </p:custDataLst>
          </p:nvPr>
        </p:nvSpPr>
        <p:spPr>
          <a:xfrm>
            <a:off x="1769254" y="290564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8" name="Ellipse 17">
            <a:extLst>
              <a:ext uri="{FF2B5EF4-FFF2-40B4-BE49-F238E27FC236}">
                <a16:creationId xmlns:a16="http://schemas.microsoft.com/office/drawing/2014/main" id="{DBB57DC8-4628-1B79-318B-666FC4670D91}"/>
              </a:ext>
              <a:ext uri="{C183D7F6-B498-43B3-948B-1728B52AA6E4}">
                <adec:decorative xmlns:adec="http://schemas.microsoft.com/office/drawing/2017/decorative" val="1"/>
              </a:ext>
            </a:extLst>
          </p:cNvPr>
          <p:cNvSpPr/>
          <p:nvPr>
            <p:custDataLst>
              <p:tags r:id="rId16"/>
            </p:custDataLst>
          </p:nvPr>
        </p:nvSpPr>
        <p:spPr>
          <a:xfrm>
            <a:off x="1862159" y="3000159"/>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9" name="Ellipse 18">
            <a:extLst>
              <a:ext uri="{FF2B5EF4-FFF2-40B4-BE49-F238E27FC236}">
                <a16:creationId xmlns:a16="http://schemas.microsoft.com/office/drawing/2014/main" id="{AF495A8B-A250-7A4D-21E3-921C682454ED}"/>
              </a:ext>
              <a:ext uri="{C183D7F6-B498-43B3-948B-1728B52AA6E4}">
                <adec:decorative xmlns:adec="http://schemas.microsoft.com/office/drawing/2017/decorative" val="1"/>
              </a:ext>
            </a:extLst>
          </p:cNvPr>
          <p:cNvSpPr/>
          <p:nvPr>
            <p:custDataLst>
              <p:tags r:id="rId17"/>
            </p:custDataLst>
          </p:nvPr>
        </p:nvSpPr>
        <p:spPr>
          <a:xfrm>
            <a:off x="2029021" y="3202053"/>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0" name="Cercle : creux 19">
            <a:extLst>
              <a:ext uri="{FF2B5EF4-FFF2-40B4-BE49-F238E27FC236}">
                <a16:creationId xmlns:a16="http://schemas.microsoft.com/office/drawing/2014/main" id="{CFA085D6-0099-ED89-398A-18F25D593F88}"/>
              </a:ext>
              <a:ext uri="{C183D7F6-B498-43B3-948B-1728B52AA6E4}">
                <adec:decorative xmlns:adec="http://schemas.microsoft.com/office/drawing/2017/decorative" val="1"/>
              </a:ext>
            </a:extLst>
          </p:cNvPr>
          <p:cNvSpPr/>
          <p:nvPr>
            <p:custDataLst>
              <p:tags r:id="rId18"/>
            </p:custDataLst>
          </p:nvPr>
        </p:nvSpPr>
        <p:spPr>
          <a:xfrm>
            <a:off x="1895739" y="303503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1" name="Connecteur droit 20">
            <a:extLst>
              <a:ext uri="{FF2B5EF4-FFF2-40B4-BE49-F238E27FC236}">
                <a16:creationId xmlns:a16="http://schemas.microsoft.com/office/drawing/2014/main" id="{FA7C870F-1F8C-F607-CBAC-3540C33D8445}"/>
              </a:ext>
              <a:ext uri="{C183D7F6-B498-43B3-948B-1728B52AA6E4}">
                <adec:decorative xmlns:adec="http://schemas.microsoft.com/office/drawing/2017/decorative" val="1"/>
              </a:ext>
            </a:extLst>
          </p:cNvPr>
          <p:cNvCxnSpPr>
            <a:cxnSpLocks/>
          </p:cNvCxnSpPr>
          <p:nvPr>
            <p:custDataLst>
              <p:tags r:id="rId19"/>
            </p:custDataLst>
          </p:nvPr>
        </p:nvCxnSpPr>
        <p:spPr>
          <a:xfrm>
            <a:off x="2213158" y="377751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2" name="Arc 21">
            <a:extLst>
              <a:ext uri="{FF2B5EF4-FFF2-40B4-BE49-F238E27FC236}">
                <a16:creationId xmlns:a16="http://schemas.microsoft.com/office/drawing/2014/main" id="{C612F677-64CF-8D3A-4DB1-4DE1B2AF9EA1}"/>
              </a:ext>
              <a:ext uri="{C183D7F6-B498-43B3-948B-1728B52AA6E4}">
                <adec:decorative xmlns:adec="http://schemas.microsoft.com/office/drawing/2017/decorative" val="1"/>
              </a:ext>
            </a:extLst>
          </p:cNvPr>
          <p:cNvSpPr/>
          <p:nvPr>
            <p:custDataLst>
              <p:tags r:id="rId20"/>
            </p:custDataLst>
          </p:nvPr>
        </p:nvSpPr>
        <p:spPr>
          <a:xfrm rot="12134810">
            <a:off x="1665990" y="2778883"/>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cxnSp>
        <p:nvCxnSpPr>
          <p:cNvPr id="23" name="Connecteur droit 22">
            <a:extLst>
              <a:ext uri="{FF2B5EF4-FFF2-40B4-BE49-F238E27FC236}">
                <a16:creationId xmlns:a16="http://schemas.microsoft.com/office/drawing/2014/main" id="{60956224-3BBE-B324-6C51-85BF60ED8D62}"/>
              </a:ext>
              <a:ext uri="{C183D7F6-B498-43B3-948B-1728B52AA6E4}">
                <adec:decorative xmlns:adec="http://schemas.microsoft.com/office/drawing/2017/decorative" val="1"/>
              </a:ext>
            </a:extLst>
          </p:cNvPr>
          <p:cNvCxnSpPr>
            <a:cxnSpLocks/>
            <a:endCxn id="19" idx="2"/>
          </p:cNvCxnSpPr>
          <p:nvPr>
            <p:custDataLst>
              <p:tags r:id="rId21"/>
            </p:custDataLst>
          </p:nvPr>
        </p:nvCxnSpPr>
        <p:spPr>
          <a:xfrm>
            <a:off x="15172" y="3322232"/>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4" name="Ellipse 23">
            <a:extLst>
              <a:ext uri="{FF2B5EF4-FFF2-40B4-BE49-F238E27FC236}">
                <a16:creationId xmlns:a16="http://schemas.microsoft.com/office/drawing/2014/main" id="{46475CA0-5389-EEDC-9749-512BE3642A63}"/>
              </a:ext>
              <a:ext uri="{C183D7F6-B498-43B3-948B-1728B52AA6E4}">
                <adec:decorative xmlns:adec="http://schemas.microsoft.com/office/drawing/2017/decorative" val="1"/>
              </a:ext>
            </a:extLst>
          </p:cNvPr>
          <p:cNvSpPr/>
          <p:nvPr>
            <p:custDataLst>
              <p:tags r:id="rId22"/>
            </p:custDataLst>
          </p:nvPr>
        </p:nvSpPr>
        <p:spPr>
          <a:xfrm>
            <a:off x="2130136" y="479499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5" name="Ellipse 24">
            <a:extLst>
              <a:ext uri="{FF2B5EF4-FFF2-40B4-BE49-F238E27FC236}">
                <a16:creationId xmlns:a16="http://schemas.microsoft.com/office/drawing/2014/main" id="{9D314767-FE2C-346B-8209-21ED556BD3C8}"/>
              </a:ext>
              <a:ext uri="{C183D7F6-B498-43B3-948B-1728B52AA6E4}">
                <adec:decorative xmlns:adec="http://schemas.microsoft.com/office/drawing/2017/decorative" val="1"/>
              </a:ext>
            </a:extLst>
          </p:cNvPr>
          <p:cNvSpPr/>
          <p:nvPr>
            <p:custDataLst>
              <p:tags r:id="rId23"/>
            </p:custDataLst>
          </p:nvPr>
        </p:nvSpPr>
        <p:spPr>
          <a:xfrm>
            <a:off x="3573815" y="2891786"/>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6" name="Ellipse 25">
            <a:extLst>
              <a:ext uri="{FF2B5EF4-FFF2-40B4-BE49-F238E27FC236}">
                <a16:creationId xmlns:a16="http://schemas.microsoft.com/office/drawing/2014/main" id="{324E2945-CFA9-E091-39A7-0B3A162EC931}"/>
              </a:ext>
              <a:ext uri="{C183D7F6-B498-43B3-948B-1728B52AA6E4}">
                <adec:decorative xmlns:adec="http://schemas.microsoft.com/office/drawing/2017/decorative" val="1"/>
              </a:ext>
            </a:extLst>
          </p:cNvPr>
          <p:cNvSpPr/>
          <p:nvPr>
            <p:custDataLst>
              <p:tags r:id="rId24"/>
            </p:custDataLst>
          </p:nvPr>
        </p:nvSpPr>
        <p:spPr>
          <a:xfrm>
            <a:off x="3666720" y="2986303"/>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7" name="Ellipse 26">
            <a:extLst>
              <a:ext uri="{FF2B5EF4-FFF2-40B4-BE49-F238E27FC236}">
                <a16:creationId xmlns:a16="http://schemas.microsoft.com/office/drawing/2014/main" id="{11ECA5C9-9824-DF69-5A99-FCF83FBBF07E}"/>
              </a:ext>
              <a:ext uri="{C183D7F6-B498-43B3-948B-1728B52AA6E4}">
                <adec:decorative xmlns:adec="http://schemas.microsoft.com/office/drawing/2017/decorative" val="1"/>
              </a:ext>
            </a:extLst>
          </p:cNvPr>
          <p:cNvSpPr/>
          <p:nvPr>
            <p:custDataLst>
              <p:tags r:id="rId25"/>
            </p:custDataLst>
          </p:nvPr>
        </p:nvSpPr>
        <p:spPr>
          <a:xfrm>
            <a:off x="3833582" y="3188197"/>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8" name="Cercle : creux 27">
            <a:extLst>
              <a:ext uri="{FF2B5EF4-FFF2-40B4-BE49-F238E27FC236}">
                <a16:creationId xmlns:a16="http://schemas.microsoft.com/office/drawing/2014/main" id="{0A62947A-5147-AF36-8215-7461ED6217C6}"/>
              </a:ext>
              <a:ext uri="{C183D7F6-B498-43B3-948B-1728B52AA6E4}">
                <adec:decorative xmlns:adec="http://schemas.microsoft.com/office/drawing/2017/decorative" val="1"/>
              </a:ext>
            </a:extLst>
          </p:cNvPr>
          <p:cNvSpPr/>
          <p:nvPr>
            <p:custDataLst>
              <p:tags r:id="rId26"/>
            </p:custDataLst>
          </p:nvPr>
        </p:nvSpPr>
        <p:spPr>
          <a:xfrm>
            <a:off x="3700300" y="3021182"/>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9" name="Connecteur droit 28">
            <a:extLst>
              <a:ext uri="{FF2B5EF4-FFF2-40B4-BE49-F238E27FC236}">
                <a16:creationId xmlns:a16="http://schemas.microsoft.com/office/drawing/2014/main" id="{EB765993-0C2A-63E9-2E8E-2A0287F7F400}"/>
              </a:ext>
              <a:ext uri="{C183D7F6-B498-43B3-948B-1728B52AA6E4}">
                <adec:decorative xmlns:adec="http://schemas.microsoft.com/office/drawing/2017/decorative" val="1"/>
              </a:ext>
            </a:extLst>
          </p:cNvPr>
          <p:cNvCxnSpPr>
            <a:cxnSpLocks/>
          </p:cNvCxnSpPr>
          <p:nvPr>
            <p:custDataLst>
              <p:tags r:id="rId27"/>
            </p:custDataLst>
          </p:nvPr>
        </p:nvCxnSpPr>
        <p:spPr>
          <a:xfrm>
            <a:off x="4006694" y="1863913"/>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0" name="Arc 29">
            <a:extLst>
              <a:ext uri="{FF2B5EF4-FFF2-40B4-BE49-F238E27FC236}">
                <a16:creationId xmlns:a16="http://schemas.microsoft.com/office/drawing/2014/main" id="{2ACFEF68-1F4C-FC65-92A8-C60D7FC9DA1B}"/>
              </a:ext>
              <a:ext uri="{C183D7F6-B498-43B3-948B-1728B52AA6E4}">
                <adec:decorative xmlns:adec="http://schemas.microsoft.com/office/drawing/2017/decorative" val="1"/>
              </a:ext>
            </a:extLst>
          </p:cNvPr>
          <p:cNvSpPr/>
          <p:nvPr>
            <p:custDataLst>
              <p:tags r:id="rId28"/>
            </p:custDataLst>
          </p:nvPr>
        </p:nvSpPr>
        <p:spPr>
          <a:xfrm rot="17357701">
            <a:off x="3444416" y="2770163"/>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1" name="Ellipse 30">
            <a:extLst>
              <a:ext uri="{FF2B5EF4-FFF2-40B4-BE49-F238E27FC236}">
                <a16:creationId xmlns:a16="http://schemas.microsoft.com/office/drawing/2014/main" id="{F1FC45FA-1DF2-7C17-C659-9ED369795783}"/>
              </a:ext>
              <a:ext uri="{C183D7F6-B498-43B3-948B-1728B52AA6E4}">
                <adec:decorative xmlns:adec="http://schemas.microsoft.com/office/drawing/2017/decorative" val="1"/>
              </a:ext>
            </a:extLst>
          </p:cNvPr>
          <p:cNvSpPr/>
          <p:nvPr>
            <p:custDataLst>
              <p:tags r:id="rId29"/>
            </p:custDataLst>
          </p:nvPr>
        </p:nvSpPr>
        <p:spPr>
          <a:xfrm>
            <a:off x="3903526" y="1733181"/>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2" name="Connecteur droit 31">
            <a:extLst>
              <a:ext uri="{FF2B5EF4-FFF2-40B4-BE49-F238E27FC236}">
                <a16:creationId xmlns:a16="http://schemas.microsoft.com/office/drawing/2014/main" id="{C41D0D38-D37A-C702-1711-C04AE3FE434C}"/>
              </a:ext>
              <a:ext uri="{C183D7F6-B498-43B3-948B-1728B52AA6E4}">
                <adec:decorative xmlns:adec="http://schemas.microsoft.com/office/drawing/2017/decorative" val="1"/>
              </a:ext>
            </a:extLst>
          </p:cNvPr>
          <p:cNvCxnSpPr>
            <a:cxnSpLocks/>
          </p:cNvCxnSpPr>
          <p:nvPr>
            <p:custDataLst>
              <p:tags r:id="rId30"/>
            </p:custDataLst>
          </p:nvPr>
        </p:nvCxnSpPr>
        <p:spPr>
          <a:xfrm>
            <a:off x="2348602" y="334137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3" name="Ellipse 32">
            <a:extLst>
              <a:ext uri="{FF2B5EF4-FFF2-40B4-BE49-F238E27FC236}">
                <a16:creationId xmlns:a16="http://schemas.microsoft.com/office/drawing/2014/main" id="{B52E6772-4247-DF96-8615-5FF05951886D}"/>
              </a:ext>
              <a:ext uri="{C183D7F6-B498-43B3-948B-1728B52AA6E4}">
                <adec:decorative xmlns:adec="http://schemas.microsoft.com/office/drawing/2017/decorative" val="1"/>
              </a:ext>
            </a:extLst>
          </p:cNvPr>
          <p:cNvSpPr/>
          <p:nvPr>
            <p:custDataLst>
              <p:tags r:id="rId31"/>
            </p:custDataLst>
          </p:nvPr>
        </p:nvSpPr>
        <p:spPr>
          <a:xfrm>
            <a:off x="5361049" y="290217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4" name="Ellipse 33">
            <a:extLst>
              <a:ext uri="{FF2B5EF4-FFF2-40B4-BE49-F238E27FC236}">
                <a16:creationId xmlns:a16="http://schemas.microsoft.com/office/drawing/2014/main" id="{F7AE0944-3100-D1BD-EAD8-DD82CA214995}"/>
              </a:ext>
              <a:ext uri="{C183D7F6-B498-43B3-948B-1728B52AA6E4}">
                <adec:decorative xmlns:adec="http://schemas.microsoft.com/office/drawing/2017/decorative" val="1"/>
              </a:ext>
            </a:extLst>
          </p:cNvPr>
          <p:cNvSpPr/>
          <p:nvPr>
            <p:custDataLst>
              <p:tags r:id="rId32"/>
            </p:custDataLst>
          </p:nvPr>
        </p:nvSpPr>
        <p:spPr>
          <a:xfrm>
            <a:off x="5453954" y="2996694"/>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5" name="Ellipse 34">
            <a:extLst>
              <a:ext uri="{FF2B5EF4-FFF2-40B4-BE49-F238E27FC236}">
                <a16:creationId xmlns:a16="http://schemas.microsoft.com/office/drawing/2014/main" id="{A45381C8-31CD-44E3-FCCB-74232805A5CB}"/>
              </a:ext>
              <a:ext uri="{C183D7F6-B498-43B3-948B-1728B52AA6E4}">
                <adec:decorative xmlns:adec="http://schemas.microsoft.com/office/drawing/2017/decorative" val="1"/>
              </a:ext>
            </a:extLst>
          </p:cNvPr>
          <p:cNvSpPr/>
          <p:nvPr>
            <p:custDataLst>
              <p:tags r:id="rId33"/>
            </p:custDataLst>
          </p:nvPr>
        </p:nvSpPr>
        <p:spPr>
          <a:xfrm>
            <a:off x="5672771" y="3198588"/>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6" name="Cercle : creux 35">
            <a:extLst>
              <a:ext uri="{FF2B5EF4-FFF2-40B4-BE49-F238E27FC236}">
                <a16:creationId xmlns:a16="http://schemas.microsoft.com/office/drawing/2014/main" id="{9FA4E66A-B415-8D50-2224-E9B708C19B9F}"/>
              </a:ext>
              <a:ext uri="{C183D7F6-B498-43B3-948B-1728B52AA6E4}">
                <adec:decorative xmlns:adec="http://schemas.microsoft.com/office/drawing/2017/decorative" val="1"/>
              </a:ext>
            </a:extLst>
          </p:cNvPr>
          <p:cNvSpPr/>
          <p:nvPr>
            <p:custDataLst>
              <p:tags r:id="rId34"/>
            </p:custDataLst>
          </p:nvPr>
        </p:nvSpPr>
        <p:spPr>
          <a:xfrm>
            <a:off x="5487534" y="303157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7" name="Connecteur droit 36">
            <a:extLst>
              <a:ext uri="{FF2B5EF4-FFF2-40B4-BE49-F238E27FC236}">
                <a16:creationId xmlns:a16="http://schemas.microsoft.com/office/drawing/2014/main" id="{28AFBD7B-8DB2-DBD0-C274-7148A919B674}"/>
              </a:ext>
              <a:ext uri="{C183D7F6-B498-43B3-948B-1728B52AA6E4}">
                <adec:decorative xmlns:adec="http://schemas.microsoft.com/office/drawing/2017/decorative" val="1"/>
              </a:ext>
            </a:extLst>
          </p:cNvPr>
          <p:cNvCxnSpPr>
            <a:cxnSpLocks/>
          </p:cNvCxnSpPr>
          <p:nvPr>
            <p:custDataLst>
              <p:tags r:id="rId35"/>
            </p:custDataLst>
          </p:nvPr>
        </p:nvCxnSpPr>
        <p:spPr>
          <a:xfrm>
            <a:off x="5804953" y="377404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8" name="Ellipse 37">
            <a:extLst>
              <a:ext uri="{FF2B5EF4-FFF2-40B4-BE49-F238E27FC236}">
                <a16:creationId xmlns:a16="http://schemas.microsoft.com/office/drawing/2014/main" id="{75825BFD-0590-0064-1DB0-3560C4BC6CBC}"/>
              </a:ext>
              <a:ext uri="{C183D7F6-B498-43B3-948B-1728B52AA6E4}">
                <adec:decorative xmlns:adec="http://schemas.microsoft.com/office/drawing/2017/decorative" val="1"/>
              </a:ext>
            </a:extLst>
          </p:cNvPr>
          <p:cNvSpPr/>
          <p:nvPr>
            <p:custDataLst>
              <p:tags r:id="rId36"/>
            </p:custDataLst>
          </p:nvPr>
        </p:nvSpPr>
        <p:spPr>
          <a:xfrm>
            <a:off x="5721931" y="479152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9" name="Connecteur droit 38">
            <a:extLst>
              <a:ext uri="{FF2B5EF4-FFF2-40B4-BE49-F238E27FC236}">
                <a16:creationId xmlns:a16="http://schemas.microsoft.com/office/drawing/2014/main" id="{E49B0FD2-5582-BF26-495F-0F4CB8A7FDD1}"/>
              </a:ext>
              <a:ext uri="{C183D7F6-B498-43B3-948B-1728B52AA6E4}">
                <adec:decorative xmlns:adec="http://schemas.microsoft.com/office/drawing/2017/decorative" val="1"/>
              </a:ext>
            </a:extLst>
          </p:cNvPr>
          <p:cNvCxnSpPr>
            <a:cxnSpLocks/>
          </p:cNvCxnSpPr>
          <p:nvPr>
            <p:custDataLst>
              <p:tags r:id="rId37"/>
            </p:custDataLst>
          </p:nvPr>
        </p:nvCxnSpPr>
        <p:spPr>
          <a:xfrm>
            <a:off x="4142766" y="3327521"/>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Ellipse 39">
            <a:extLst>
              <a:ext uri="{FF2B5EF4-FFF2-40B4-BE49-F238E27FC236}">
                <a16:creationId xmlns:a16="http://schemas.microsoft.com/office/drawing/2014/main" id="{543AE277-053A-1846-322B-402EC8E55235}"/>
              </a:ext>
              <a:ext uri="{C183D7F6-B498-43B3-948B-1728B52AA6E4}">
                <adec:decorative xmlns:adec="http://schemas.microsoft.com/office/drawing/2017/decorative" val="1"/>
              </a:ext>
            </a:extLst>
          </p:cNvPr>
          <p:cNvSpPr/>
          <p:nvPr>
            <p:custDataLst>
              <p:tags r:id="rId38"/>
            </p:custDataLst>
          </p:nvPr>
        </p:nvSpPr>
        <p:spPr>
          <a:xfrm>
            <a:off x="7144820" y="289871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1" name="Ellipse 40">
            <a:extLst>
              <a:ext uri="{FF2B5EF4-FFF2-40B4-BE49-F238E27FC236}">
                <a16:creationId xmlns:a16="http://schemas.microsoft.com/office/drawing/2014/main" id="{6CC2F477-C447-01DD-A0EF-2C71D12FA9E7}"/>
              </a:ext>
              <a:ext uri="{C183D7F6-B498-43B3-948B-1728B52AA6E4}">
                <adec:decorative xmlns:adec="http://schemas.microsoft.com/office/drawing/2017/decorative" val="1"/>
              </a:ext>
            </a:extLst>
          </p:cNvPr>
          <p:cNvSpPr/>
          <p:nvPr>
            <p:custDataLst>
              <p:tags r:id="rId39"/>
            </p:custDataLst>
          </p:nvPr>
        </p:nvSpPr>
        <p:spPr>
          <a:xfrm>
            <a:off x="7237725" y="2993229"/>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2" name="Ellipse 41">
            <a:extLst>
              <a:ext uri="{FF2B5EF4-FFF2-40B4-BE49-F238E27FC236}">
                <a16:creationId xmlns:a16="http://schemas.microsoft.com/office/drawing/2014/main" id="{69A35460-9369-E06A-5878-2E3A1790FD06}"/>
              </a:ext>
              <a:ext uri="{C183D7F6-B498-43B3-948B-1728B52AA6E4}">
                <adec:decorative xmlns:adec="http://schemas.microsoft.com/office/drawing/2017/decorative" val="1"/>
              </a:ext>
            </a:extLst>
          </p:cNvPr>
          <p:cNvSpPr/>
          <p:nvPr>
            <p:custDataLst>
              <p:tags r:id="rId40"/>
            </p:custDataLst>
          </p:nvPr>
        </p:nvSpPr>
        <p:spPr>
          <a:xfrm>
            <a:off x="7404587" y="3195123"/>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3" name="Cercle : creux 42">
            <a:extLst>
              <a:ext uri="{FF2B5EF4-FFF2-40B4-BE49-F238E27FC236}">
                <a16:creationId xmlns:a16="http://schemas.microsoft.com/office/drawing/2014/main" id="{9EBD7031-D6B8-3C3F-6C21-36F88D9BB280}"/>
              </a:ext>
              <a:ext uri="{C183D7F6-B498-43B3-948B-1728B52AA6E4}">
                <adec:decorative xmlns:adec="http://schemas.microsoft.com/office/drawing/2017/decorative" val="1"/>
              </a:ext>
            </a:extLst>
          </p:cNvPr>
          <p:cNvSpPr/>
          <p:nvPr>
            <p:custDataLst>
              <p:tags r:id="rId41"/>
            </p:custDataLst>
          </p:nvPr>
        </p:nvSpPr>
        <p:spPr>
          <a:xfrm>
            <a:off x="7271305" y="302810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44" name="Connecteur droit 43">
            <a:extLst>
              <a:ext uri="{FF2B5EF4-FFF2-40B4-BE49-F238E27FC236}">
                <a16:creationId xmlns:a16="http://schemas.microsoft.com/office/drawing/2014/main" id="{BBBCF7AD-D691-FEB7-4DC9-3FDC9ED648A5}"/>
              </a:ext>
              <a:ext uri="{C183D7F6-B498-43B3-948B-1728B52AA6E4}">
                <adec:decorative xmlns:adec="http://schemas.microsoft.com/office/drawing/2017/decorative" val="1"/>
              </a:ext>
            </a:extLst>
          </p:cNvPr>
          <p:cNvCxnSpPr>
            <a:cxnSpLocks/>
          </p:cNvCxnSpPr>
          <p:nvPr>
            <p:custDataLst>
              <p:tags r:id="rId42"/>
            </p:custDataLst>
          </p:nvPr>
        </p:nvCxnSpPr>
        <p:spPr>
          <a:xfrm>
            <a:off x="7577699" y="1870839"/>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5" name="Arc 44">
            <a:extLst>
              <a:ext uri="{FF2B5EF4-FFF2-40B4-BE49-F238E27FC236}">
                <a16:creationId xmlns:a16="http://schemas.microsoft.com/office/drawing/2014/main" id="{1ECE98B4-7BDD-F02D-1EB2-4363C482AD8C}"/>
              </a:ext>
              <a:ext uri="{C183D7F6-B498-43B3-948B-1728B52AA6E4}">
                <adec:decorative xmlns:adec="http://schemas.microsoft.com/office/drawing/2017/decorative" val="1"/>
              </a:ext>
            </a:extLst>
          </p:cNvPr>
          <p:cNvSpPr/>
          <p:nvPr>
            <p:custDataLst>
              <p:tags r:id="rId43"/>
            </p:custDataLst>
          </p:nvPr>
        </p:nvSpPr>
        <p:spPr>
          <a:xfrm rot="17357701">
            <a:off x="7015421" y="2777089"/>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6" name="Ellipse 45">
            <a:extLst>
              <a:ext uri="{FF2B5EF4-FFF2-40B4-BE49-F238E27FC236}">
                <a16:creationId xmlns:a16="http://schemas.microsoft.com/office/drawing/2014/main" id="{038B6E04-26C2-25D3-B757-F068727BE88E}"/>
              </a:ext>
              <a:ext uri="{C183D7F6-B498-43B3-948B-1728B52AA6E4}">
                <adec:decorative xmlns:adec="http://schemas.microsoft.com/office/drawing/2017/decorative" val="1"/>
              </a:ext>
            </a:extLst>
          </p:cNvPr>
          <p:cNvSpPr/>
          <p:nvPr>
            <p:custDataLst>
              <p:tags r:id="rId44"/>
            </p:custDataLst>
          </p:nvPr>
        </p:nvSpPr>
        <p:spPr>
          <a:xfrm>
            <a:off x="7474531" y="1740107"/>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47" name="Connecteur droit 46">
            <a:extLst>
              <a:ext uri="{FF2B5EF4-FFF2-40B4-BE49-F238E27FC236}">
                <a16:creationId xmlns:a16="http://schemas.microsoft.com/office/drawing/2014/main" id="{FDB8C5F9-1293-B0D8-5E61-88BC09F5547E}"/>
              </a:ext>
              <a:ext uri="{C183D7F6-B498-43B3-948B-1728B52AA6E4}">
                <adec:decorative xmlns:adec="http://schemas.microsoft.com/office/drawing/2017/decorative" val="1"/>
              </a:ext>
            </a:extLst>
          </p:cNvPr>
          <p:cNvCxnSpPr>
            <a:cxnSpLocks/>
          </p:cNvCxnSpPr>
          <p:nvPr>
            <p:custDataLst>
              <p:tags r:id="rId45"/>
            </p:custDataLst>
          </p:nvPr>
        </p:nvCxnSpPr>
        <p:spPr>
          <a:xfrm>
            <a:off x="5923106" y="335590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8" name="Arc 47">
            <a:extLst>
              <a:ext uri="{FF2B5EF4-FFF2-40B4-BE49-F238E27FC236}">
                <a16:creationId xmlns:a16="http://schemas.microsoft.com/office/drawing/2014/main" id="{5A7F9F9E-9175-F5DF-2A93-F1044995B2FB}"/>
              </a:ext>
              <a:ext uri="{C183D7F6-B498-43B3-948B-1728B52AA6E4}">
                <adec:decorative xmlns:adec="http://schemas.microsoft.com/office/drawing/2017/decorative" val="1"/>
              </a:ext>
            </a:extLst>
          </p:cNvPr>
          <p:cNvSpPr/>
          <p:nvPr>
            <p:custDataLst>
              <p:tags r:id="rId46"/>
            </p:custDataLst>
          </p:nvPr>
        </p:nvSpPr>
        <p:spPr>
          <a:xfrm rot="12134810">
            <a:off x="5257785" y="2765027"/>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9" name="Ellipse 48">
            <a:extLst>
              <a:ext uri="{FF2B5EF4-FFF2-40B4-BE49-F238E27FC236}">
                <a16:creationId xmlns:a16="http://schemas.microsoft.com/office/drawing/2014/main" id="{A91144D3-0AAE-DE72-53BE-E833CED731E5}"/>
              </a:ext>
              <a:ext uri="{C183D7F6-B498-43B3-948B-1728B52AA6E4}">
                <adec:decorative xmlns:adec="http://schemas.microsoft.com/office/drawing/2017/decorative" val="1"/>
              </a:ext>
            </a:extLst>
          </p:cNvPr>
          <p:cNvSpPr/>
          <p:nvPr>
            <p:custDataLst>
              <p:tags r:id="rId47"/>
            </p:custDataLst>
          </p:nvPr>
        </p:nvSpPr>
        <p:spPr>
          <a:xfrm>
            <a:off x="8945903" y="295413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0" name="Ellipse 49">
            <a:extLst>
              <a:ext uri="{FF2B5EF4-FFF2-40B4-BE49-F238E27FC236}">
                <a16:creationId xmlns:a16="http://schemas.microsoft.com/office/drawing/2014/main" id="{C12ED88E-D26B-D688-B79C-4074BFFD53F2}"/>
              </a:ext>
              <a:ext uri="{C183D7F6-B498-43B3-948B-1728B52AA6E4}">
                <adec:decorative xmlns:adec="http://schemas.microsoft.com/office/drawing/2017/decorative" val="1"/>
              </a:ext>
            </a:extLst>
          </p:cNvPr>
          <p:cNvSpPr/>
          <p:nvPr>
            <p:custDataLst>
              <p:tags r:id="rId48"/>
            </p:custDataLst>
          </p:nvPr>
        </p:nvSpPr>
        <p:spPr>
          <a:xfrm>
            <a:off x="9038808" y="3048649"/>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1" name="Ellipse 50">
            <a:extLst>
              <a:ext uri="{FF2B5EF4-FFF2-40B4-BE49-F238E27FC236}">
                <a16:creationId xmlns:a16="http://schemas.microsoft.com/office/drawing/2014/main" id="{879975FA-9ACA-8B4E-D7F8-5C70F88FD56A}"/>
              </a:ext>
              <a:ext uri="{C183D7F6-B498-43B3-948B-1728B52AA6E4}">
                <adec:decorative xmlns:adec="http://schemas.microsoft.com/office/drawing/2017/decorative" val="1"/>
              </a:ext>
            </a:extLst>
          </p:cNvPr>
          <p:cNvSpPr/>
          <p:nvPr>
            <p:custDataLst>
              <p:tags r:id="rId49"/>
            </p:custDataLst>
          </p:nvPr>
        </p:nvSpPr>
        <p:spPr>
          <a:xfrm>
            <a:off x="9205670" y="3250543"/>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2" name="Cercle : creux 51">
            <a:extLst>
              <a:ext uri="{FF2B5EF4-FFF2-40B4-BE49-F238E27FC236}">
                <a16:creationId xmlns:a16="http://schemas.microsoft.com/office/drawing/2014/main" id="{6058D165-FCA6-59E9-C32C-0F1C61DC16FD}"/>
              </a:ext>
              <a:ext uri="{C183D7F6-B498-43B3-948B-1728B52AA6E4}">
                <adec:decorative xmlns:adec="http://schemas.microsoft.com/office/drawing/2017/decorative" val="1"/>
              </a:ext>
            </a:extLst>
          </p:cNvPr>
          <p:cNvSpPr/>
          <p:nvPr>
            <p:custDataLst>
              <p:tags r:id="rId50"/>
            </p:custDataLst>
          </p:nvPr>
        </p:nvSpPr>
        <p:spPr>
          <a:xfrm>
            <a:off x="9072388" y="308352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53" name="Connecteur droit 52">
            <a:extLst>
              <a:ext uri="{FF2B5EF4-FFF2-40B4-BE49-F238E27FC236}">
                <a16:creationId xmlns:a16="http://schemas.microsoft.com/office/drawing/2014/main" id="{247E69B8-4C2E-D203-B1A6-289EBF09FF47}"/>
              </a:ext>
              <a:ext uri="{C183D7F6-B498-43B3-948B-1728B52AA6E4}">
                <adec:decorative xmlns:adec="http://schemas.microsoft.com/office/drawing/2017/decorative" val="1"/>
              </a:ext>
            </a:extLst>
          </p:cNvPr>
          <p:cNvCxnSpPr>
            <a:cxnSpLocks/>
          </p:cNvCxnSpPr>
          <p:nvPr>
            <p:custDataLst>
              <p:tags r:id="rId51"/>
            </p:custDataLst>
          </p:nvPr>
        </p:nvCxnSpPr>
        <p:spPr>
          <a:xfrm>
            <a:off x="9389807" y="382600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54" name="Arc 53">
            <a:extLst>
              <a:ext uri="{FF2B5EF4-FFF2-40B4-BE49-F238E27FC236}">
                <a16:creationId xmlns:a16="http://schemas.microsoft.com/office/drawing/2014/main" id="{5E7B02DF-2558-19D5-EC05-27B8F4C6D40F}"/>
              </a:ext>
              <a:ext uri="{C183D7F6-B498-43B3-948B-1728B52AA6E4}">
                <adec:decorative xmlns:adec="http://schemas.microsoft.com/office/drawing/2017/decorative" val="1"/>
              </a:ext>
            </a:extLst>
          </p:cNvPr>
          <p:cNvSpPr/>
          <p:nvPr>
            <p:custDataLst>
              <p:tags r:id="rId52"/>
            </p:custDataLst>
          </p:nvPr>
        </p:nvSpPr>
        <p:spPr>
          <a:xfrm rot="12134810">
            <a:off x="8842639" y="2827373"/>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55" name="Ellipse 54">
            <a:extLst>
              <a:ext uri="{FF2B5EF4-FFF2-40B4-BE49-F238E27FC236}">
                <a16:creationId xmlns:a16="http://schemas.microsoft.com/office/drawing/2014/main" id="{55142A24-5EA0-F55D-51BB-D0DC887A2440}"/>
              </a:ext>
              <a:ext uri="{C183D7F6-B498-43B3-948B-1728B52AA6E4}">
                <adec:decorative xmlns:adec="http://schemas.microsoft.com/office/drawing/2017/decorative" val="1"/>
              </a:ext>
            </a:extLst>
          </p:cNvPr>
          <p:cNvSpPr/>
          <p:nvPr>
            <p:custDataLst>
              <p:tags r:id="rId53"/>
            </p:custDataLst>
          </p:nvPr>
        </p:nvSpPr>
        <p:spPr>
          <a:xfrm>
            <a:off x="9306785" y="484348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56" name="Connecteur droit 55">
            <a:extLst>
              <a:ext uri="{FF2B5EF4-FFF2-40B4-BE49-F238E27FC236}">
                <a16:creationId xmlns:a16="http://schemas.microsoft.com/office/drawing/2014/main" id="{BD62BE99-7E43-F3E2-3AC9-8D1D1B910FE6}"/>
              </a:ext>
              <a:ext uri="{C183D7F6-B498-43B3-948B-1728B52AA6E4}">
                <adec:decorative xmlns:adec="http://schemas.microsoft.com/office/drawing/2017/decorative" val="1"/>
              </a:ext>
            </a:extLst>
          </p:cNvPr>
          <p:cNvCxnSpPr>
            <a:cxnSpLocks/>
            <a:endCxn id="51" idx="2"/>
          </p:cNvCxnSpPr>
          <p:nvPr>
            <p:custDataLst>
              <p:tags r:id="rId54"/>
            </p:custDataLst>
          </p:nvPr>
        </p:nvCxnSpPr>
        <p:spPr>
          <a:xfrm>
            <a:off x="7690339" y="3368238"/>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57" name="Connecteur droit 56">
            <a:extLst>
              <a:ext uri="{FF2B5EF4-FFF2-40B4-BE49-F238E27FC236}">
                <a16:creationId xmlns:a16="http://schemas.microsoft.com/office/drawing/2014/main" id="{69D49AD1-DF40-D8F6-3AEA-DCDBB884942B}"/>
              </a:ext>
              <a:ext uri="{C183D7F6-B498-43B3-948B-1728B52AA6E4}">
                <adec:decorative xmlns:adec="http://schemas.microsoft.com/office/drawing/2017/decorative" val="1"/>
              </a:ext>
            </a:extLst>
          </p:cNvPr>
          <p:cNvCxnSpPr>
            <a:cxnSpLocks/>
          </p:cNvCxnSpPr>
          <p:nvPr>
            <p:custDataLst>
              <p:tags r:id="rId55"/>
            </p:custDataLst>
          </p:nvPr>
        </p:nvCxnSpPr>
        <p:spPr>
          <a:xfrm flipV="1">
            <a:off x="9539095" y="3375648"/>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58" name="Connecteur droit avec flèche 57">
            <a:extLst>
              <a:ext uri="{FF2B5EF4-FFF2-40B4-BE49-F238E27FC236}">
                <a16:creationId xmlns:a16="http://schemas.microsoft.com/office/drawing/2014/main" id="{73A11CBD-27CB-DF5A-70FD-69B0EF2C1262}"/>
              </a:ext>
              <a:ext uri="{C183D7F6-B498-43B3-948B-1728B52AA6E4}">
                <adec:decorative xmlns:adec="http://schemas.microsoft.com/office/drawing/2017/decorative" val="1"/>
              </a:ext>
            </a:extLst>
          </p:cNvPr>
          <p:cNvCxnSpPr>
            <a:cxnSpLocks/>
          </p:cNvCxnSpPr>
          <p:nvPr>
            <p:custDataLst>
              <p:tags r:id="rId56"/>
            </p:custDataLst>
          </p:nvPr>
        </p:nvCxnSpPr>
        <p:spPr>
          <a:xfrm>
            <a:off x="2413255" y="2426849"/>
            <a:ext cx="791061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16905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ext steps</a:t>
            </a:r>
          </a:p>
        </p:txBody>
      </p:sp>
      <p:sp>
        <p:nvSpPr>
          <p:cNvPr id="12" name="TextBox 11">
            <a:extLst>
              <a:ext uri="{FF2B5EF4-FFF2-40B4-BE49-F238E27FC236}">
                <a16:creationId xmlns:a16="http://schemas.microsoft.com/office/drawing/2014/main" id="{49BC1508-1F65-AA39-033E-D60F15B261D2}"/>
              </a:ext>
            </a:extLst>
          </p:cNvPr>
          <p:cNvSpPr txBox="1"/>
          <p:nvPr>
            <p:custDataLst>
              <p:tags r:id="rId3"/>
            </p:custDataLst>
          </p:nvPr>
        </p:nvSpPr>
        <p:spPr>
          <a:xfrm>
            <a:off x="581229" y="1201526"/>
            <a:ext cx="10362388" cy="2031325"/>
          </a:xfrm>
          <a:prstGeom prst="rect">
            <a:avLst/>
          </a:prstGeom>
          <a:noFill/>
        </p:spPr>
        <p:txBody>
          <a:bodyPr wrap="square">
            <a:spAutoFit/>
          </a:bodyPr>
          <a:lstStyle/>
          <a:p>
            <a:pPr marL="285750" indent="-285750">
              <a:buFont typeface="Arial" panose="020B0604020202020204" pitchFamily="34" charset="0"/>
              <a:buChar char="•"/>
            </a:pPr>
            <a:r>
              <a:rPr lang="en-CA" sz="1800" dirty="0">
                <a:latin typeface="Avenir Next LT Pro" panose="020B0504020202020204" pitchFamily="34" charset="0"/>
              </a:rPr>
              <a:t>Involvement </a:t>
            </a:r>
            <a:r>
              <a:rPr lang="en-CA" dirty="0">
                <a:latin typeface="Avenir Next LT Pro" panose="020B0504020202020204" pitchFamily="34" charset="0"/>
              </a:rPr>
              <a:t>with </a:t>
            </a:r>
            <a:r>
              <a:rPr lang="en-CA" sz="1800" dirty="0">
                <a:latin typeface="Avenir Next LT Pro" panose="020B0504020202020204" pitchFamily="34" charset="0"/>
              </a:rPr>
              <a:t>committees and networks.</a:t>
            </a:r>
          </a:p>
          <a:p>
            <a:pPr marL="285750" indent="-285750">
              <a:buFont typeface="Arial" panose="020B0604020202020204" pitchFamily="34" charset="0"/>
              <a:buChar char="•"/>
            </a:pPr>
            <a:endParaRPr lang="en-CA" sz="1800"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Organizing removal of business and personal assets.</a:t>
            </a:r>
          </a:p>
          <a:p>
            <a:endParaRPr lang="en-CA"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Launch of our first communication tools.</a:t>
            </a:r>
          </a:p>
          <a:p>
            <a:pPr marL="285750" indent="-285750">
              <a:buFont typeface="Arial" panose="020B0604020202020204" pitchFamily="34" charset="0"/>
              <a:buChar char="•"/>
            </a:pPr>
            <a:endParaRPr lang="en-CA" dirty="0">
              <a:latin typeface="Avenir Next LT Pro" panose="020B0504020202020204" pitchFamily="34" charset="0"/>
            </a:endParaRPr>
          </a:p>
          <a:p>
            <a:endParaRPr lang="en-CA" dirty="0"/>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spTree>
    <p:extLst>
      <p:ext uri="{BB962C8B-B14F-4D97-AF65-F5344CB8AC3E}">
        <p14:creationId xmlns:p14="http://schemas.microsoft.com/office/powerpoint/2010/main" val="3254786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tay tuned</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10">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pic>
        <p:nvPicPr>
          <p:cNvPr id="11" name="Graphique 10" descr="Adresse de courrier avec un remplissage uni">
            <a:extLst>
              <a:ext uri="{FF2B5EF4-FFF2-40B4-BE49-F238E27FC236}">
                <a16:creationId xmlns:a16="http://schemas.microsoft.com/office/drawing/2014/main" id="{34E26041-226E-BB54-F354-A606DDC5B170}"/>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5017" y="1435185"/>
            <a:ext cx="914400" cy="914400"/>
          </a:xfrm>
          <a:prstGeom prst="rect">
            <a:avLst/>
          </a:prstGeom>
        </p:spPr>
      </p:pic>
      <p:sp>
        <p:nvSpPr>
          <p:cNvPr id="12" name="ZoneTexte 11">
            <a:extLst>
              <a:ext uri="{FF2B5EF4-FFF2-40B4-BE49-F238E27FC236}">
                <a16:creationId xmlns:a16="http://schemas.microsoft.com/office/drawing/2014/main" id="{9E7EA0FB-96DA-D309-DAD0-3AA33FFD40BB}"/>
              </a:ext>
            </a:extLst>
          </p:cNvPr>
          <p:cNvSpPr txBox="1"/>
          <p:nvPr>
            <p:custDataLst>
              <p:tags r:id="rId5"/>
            </p:custDataLst>
          </p:nvPr>
        </p:nvSpPr>
        <p:spPr>
          <a:xfrm>
            <a:off x="2047829" y="1795736"/>
            <a:ext cx="6183085" cy="461665"/>
          </a:xfrm>
          <a:prstGeom prst="rect">
            <a:avLst/>
          </a:prstGeom>
          <a:noFill/>
        </p:spPr>
        <p:txBody>
          <a:bodyPr wrap="square" lIns="91440" tIns="45720" rIns="91440" bIns="45720" rtlCol="0" anchor="t">
            <a:spAutoFit/>
          </a:bodyPr>
          <a:lstStyle/>
          <a:p>
            <a:r>
              <a:rPr lang="en-CA" sz="2400" dirty="0">
                <a:latin typeface="Avenir Next LT Pro"/>
              </a:rPr>
              <a:t>Write us at </a:t>
            </a:r>
            <a:r>
              <a:rPr lang="en-CA" sz="2400" dirty="0">
                <a:highlight>
                  <a:srgbClr val="FFFF00"/>
                </a:highlight>
                <a:latin typeface="Avenir Next LT Pro"/>
              </a:rPr>
              <a:t>(insert e-mail address)</a:t>
            </a:r>
          </a:p>
        </p:txBody>
      </p:sp>
      <p:pic>
        <p:nvPicPr>
          <p:cNvPr id="6" name="Graphique 5" descr="Internet avec un remplissage uni">
            <a:extLst>
              <a:ext uri="{FF2B5EF4-FFF2-40B4-BE49-F238E27FC236}">
                <a16:creationId xmlns:a16="http://schemas.microsoft.com/office/drawing/2014/main" id="{ECCA0B59-DF14-4002-3BE9-97B46FAEC121}"/>
              </a:ext>
            </a:extLst>
          </p:cNvPr>
          <p:cNvPicPr>
            <a:picLocks noChangeAspect="1"/>
          </p:cNvPicPr>
          <p:nvPr>
            <p:custDataLst>
              <p:tags r:id="rId6"/>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4353" y="2630909"/>
            <a:ext cx="1195728" cy="1195728"/>
          </a:xfrm>
          <a:prstGeom prst="rect">
            <a:avLst/>
          </a:prstGeom>
        </p:spPr>
      </p:pic>
      <p:sp>
        <p:nvSpPr>
          <p:cNvPr id="7" name="ZoneTexte 6">
            <a:extLst>
              <a:ext uri="{FF2B5EF4-FFF2-40B4-BE49-F238E27FC236}">
                <a16:creationId xmlns:a16="http://schemas.microsoft.com/office/drawing/2014/main" id="{35341F70-17E8-89A5-84EF-DA67A9FDF4D9}"/>
              </a:ext>
            </a:extLst>
          </p:cNvPr>
          <p:cNvSpPr txBox="1"/>
          <p:nvPr>
            <p:custDataLst>
              <p:tags r:id="rId7"/>
            </p:custDataLst>
          </p:nvPr>
        </p:nvSpPr>
        <p:spPr>
          <a:xfrm>
            <a:off x="2134916" y="3044107"/>
            <a:ext cx="8424227" cy="461665"/>
          </a:xfrm>
          <a:prstGeom prst="rect">
            <a:avLst/>
          </a:prstGeom>
          <a:noFill/>
        </p:spPr>
        <p:txBody>
          <a:bodyPr wrap="square" lIns="91440" tIns="45720" rIns="91440" bIns="45720" rtlCol="0" anchor="t">
            <a:spAutoFit/>
          </a:bodyPr>
          <a:lstStyle/>
          <a:p>
            <a:r>
              <a:rPr lang="en-CA" sz="2400" dirty="0">
                <a:latin typeface="Avenir Next LT Pro"/>
              </a:rPr>
              <a:t>Visit the page (</a:t>
            </a:r>
            <a:r>
              <a:rPr lang="en-CA" sz="2400" dirty="0">
                <a:highlight>
                  <a:srgbClr val="FFFF00"/>
                </a:highlight>
                <a:latin typeface="Avenir Next LT Pro"/>
              </a:rPr>
              <a:t>insert hyperlink to your intranet)</a:t>
            </a:r>
          </a:p>
        </p:txBody>
      </p:sp>
    </p:spTree>
    <p:extLst>
      <p:ext uri="{BB962C8B-B14F-4D97-AF65-F5344CB8AC3E}">
        <p14:creationId xmlns:p14="http://schemas.microsoft.com/office/powerpoint/2010/main" val="21062715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custDataLst>
              <p:tags r:id="rId1"/>
            </p:custDataLst>
          </p:nvPr>
        </p:nvSpPr>
        <p:spPr>
          <a:xfrm>
            <a:off x="3668358" y="55284"/>
            <a:ext cx="5360535"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r>
              <a:rPr lang="en-CA" i="1" dirty="0">
                <a:solidFill>
                  <a:srgbClr val="C00000"/>
                </a:solidFill>
              </a:rPr>
              <a:t>Instructions </a:t>
            </a:r>
            <a:r>
              <a:rPr lang="en-CA" sz="1800" i="1" dirty="0">
                <a:solidFill>
                  <a:srgbClr val="C00000"/>
                </a:solidFill>
                <a:latin typeface="+mn-lt"/>
              </a:rPr>
              <a:t>- Remove this page before use</a:t>
            </a: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custDataLst>
              <p:tags r:id="rId2"/>
            </p:custDataLst>
          </p:nvPr>
        </p:nvSpPr>
        <p:spPr>
          <a:xfrm>
            <a:off x="251426" y="453574"/>
            <a:ext cx="11175825" cy="642216"/>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lang="en-CA" sz="3200" dirty="0">
                <a:solidFill>
                  <a:schemeClr val="accent5"/>
                </a:solidFill>
                <a:latin typeface="Arial Rounded MT Bold" panose="020F0704030504030204" pitchFamily="34" charset="0"/>
              </a:rPr>
              <a:t>How to use this document</a:t>
            </a:r>
            <a:endParaRPr kumimoji="0" lang="en-CA" sz="3200" b="1" i="0" u="none" strike="noStrike" kern="1200" cap="none" spc="0" normalizeH="0" baseline="0" dirty="0">
              <a:ln>
                <a:noFill/>
              </a:ln>
              <a:solidFill>
                <a:schemeClr val="accent5"/>
              </a:solidFill>
              <a:effectLst/>
              <a:uLnTx/>
              <a:uFillTx/>
              <a:latin typeface="Arial Rounded MT Bold" panose="020F070403050403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custDataLst>
              <p:tags r:id="rId3"/>
            </p:custDataLst>
          </p:nvPr>
        </p:nvSpPr>
        <p:spPr>
          <a:xfrm>
            <a:off x="535511" y="1352416"/>
            <a:ext cx="11511593" cy="4770537"/>
          </a:xfrm>
          <a:prstGeom prst="rect">
            <a:avLst/>
          </a:prstGeom>
          <a:solidFill>
            <a:schemeClr val="accent5">
              <a:lumMod val="20000"/>
              <a:lumOff val="80000"/>
            </a:schemeClr>
          </a:solidFill>
        </p:spPr>
        <p:txBody>
          <a:bodyPr wrap="square">
            <a:spAutoFit/>
          </a:bodyPr>
          <a:lstStyle/>
          <a:p>
            <a:pPr algn="just">
              <a:spcAft>
                <a:spcPts val="1200"/>
              </a:spcAft>
            </a:pPr>
            <a:r>
              <a:rPr lang="en-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PURPOSE AND TARGET: </a:t>
            </a:r>
            <a:r>
              <a:rPr lang="en-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he purpose of this presentation is to </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announce the optimization project to employees. It is a presentation that could be inserted into the agenda of an all-staff meeting or as an information session where the project is the only subject covered. </a:t>
            </a:r>
            <a:endParaRPr lang="en-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r>
              <a:rPr lang="en-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WHEN: </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This presentation takes place early in the project, once the key players have been identified, i.e., when the sponsor and key project team members have been appointed.</a:t>
            </a:r>
          </a:p>
          <a:p>
            <a:pPr algn="just">
              <a:spcAft>
                <a:spcPts val="1200"/>
              </a:spcAft>
            </a:pPr>
            <a:r>
              <a:rPr lang="en-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It's important that this event takes place soon after the executive and manager engagement activities, i.e., 48 to 72 hours later, to avoid the information being circulated informally. Make sure that executives and managers have received the FAQ and have had a chance to familiarize themselves with its content before the event.</a:t>
            </a:r>
          </a:p>
          <a:p>
            <a:pPr algn="just">
              <a:spcAft>
                <a:spcPts val="1200"/>
              </a:spcAft>
            </a:pPr>
            <a:r>
              <a:rPr lang="en-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HOW: </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First, you need to personalize and adapt the presentation to your organization's reality. Include real-life examples and situations inspired by the way staff in your organization work. </a:t>
            </a:r>
          </a:p>
          <a:p>
            <a:pPr algn="just">
              <a:spcAft>
                <a:spcPts val="1200"/>
              </a:spcAft>
            </a:pP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Use the notes section as a guide for preparing speaking notes for your presentation.</a:t>
            </a:r>
          </a:p>
          <a:p>
            <a:pPr algn="just">
              <a:spcAft>
                <a:spcPts val="1200"/>
              </a:spcAft>
            </a:pPr>
            <a:r>
              <a:rPr lang="en-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he </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executive and project sponsors are expected to co-host this session.</a:t>
            </a:r>
          </a:p>
          <a:p>
            <a:pPr algn="just">
              <a:spcAft>
                <a:spcPts val="1200"/>
              </a:spcAft>
            </a:pP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Allow time for questions. Avoid anonymous, publicly visible platforms (such as sli.do) for these, as they may distract from the topic at hand.</a:t>
            </a:r>
            <a:endParaRPr lang="en-CA" sz="1600" dirty="0">
              <a:solidFill>
                <a:srgbClr val="FF0000"/>
              </a:solidFill>
              <a:effectLst/>
              <a:latin typeface="Calibri Light" panose="020F0302020204030204" pitchFamily="34" charset="0"/>
              <a:ea typeface="Calibri" panose="020F0502020204030204" pitchFamily="34" charset="0"/>
            </a:endParaRPr>
          </a:p>
          <a:p>
            <a:pPr algn="just">
              <a:spcAft>
                <a:spcPts val="1200"/>
              </a:spcAft>
            </a:pPr>
            <a:r>
              <a:rPr lang="en-CA" sz="1600" i="1" dirty="0">
                <a:solidFill>
                  <a:srgbClr val="C00000"/>
                </a:solidFill>
                <a:effectLst/>
                <a:latin typeface="Calibri Light" panose="020F0302020204030204" pitchFamily="34" charset="0"/>
                <a:ea typeface="Calibri" panose="020F0502020204030204" pitchFamily="34" charset="0"/>
              </a:rPr>
              <a:t>The </a:t>
            </a:r>
            <a:r>
              <a:rPr lang="en-CA" sz="1600" i="1" dirty="0">
                <a:solidFill>
                  <a:srgbClr val="C00000"/>
                </a:solidFill>
                <a:latin typeface="Calibri Light" panose="020F0302020204030204" pitchFamily="34" charset="0"/>
                <a:ea typeface="Calibri" panose="020F0502020204030204" pitchFamily="34" charset="0"/>
              </a:rPr>
              <a:t>French</a:t>
            </a:r>
            <a:r>
              <a:rPr lang="en-CA" sz="1600" i="1" dirty="0">
                <a:solidFill>
                  <a:srgbClr val="C00000"/>
                </a:solidFill>
                <a:effectLst/>
                <a:latin typeface="Calibri Light" panose="020F0302020204030204" pitchFamily="34" charset="0"/>
                <a:ea typeface="Calibri" panose="020F0502020204030204" pitchFamily="34" charset="0"/>
              </a:rPr>
              <a:t> version of this document is </a:t>
            </a:r>
            <a:r>
              <a:rPr lang="en-CA" sz="1600" i="1" dirty="0">
                <a:solidFill>
                  <a:srgbClr val="C00000"/>
                </a:solidFill>
                <a:latin typeface="Calibri Light" panose="020F0302020204030204" pitchFamily="34" charset="0"/>
                <a:ea typeface="Calibri" panose="020F0502020204030204" pitchFamily="34" charset="0"/>
              </a:rPr>
              <a:t>available </a:t>
            </a:r>
            <a:r>
              <a:rPr lang="en-CA" sz="1600" i="1" dirty="0">
                <a:solidFill>
                  <a:srgbClr val="C00000"/>
                </a:solidFill>
                <a:effectLst/>
                <a:latin typeface="Calibri Light" panose="020F0302020204030204" pitchFamily="34" charset="0"/>
                <a:ea typeface="Calibri" panose="020F0502020204030204" pitchFamily="34" charset="0"/>
              </a:rPr>
              <a:t>here: </a:t>
            </a:r>
            <a:r>
              <a:rPr lang="en-CA" sz="1600" i="1" dirty="0">
                <a:solidFill>
                  <a:srgbClr val="C00000"/>
                </a:solidFill>
                <a:effectLst/>
                <a:highlight>
                  <a:srgbClr val="FFFF00"/>
                </a:highlight>
                <a:latin typeface="Calibri Light" panose="020F0302020204030204" pitchFamily="34" charset="0"/>
                <a:ea typeface="Calibri" panose="020F0502020204030204" pitchFamily="34" charset="0"/>
                <a:hlinkClick r:id="rId6"/>
              </a:rPr>
              <a:t>version </a:t>
            </a:r>
            <a:r>
              <a:rPr lang="en-CA" sz="1600" i="1" dirty="0">
                <a:solidFill>
                  <a:srgbClr val="C00000"/>
                </a:solidFill>
                <a:highlight>
                  <a:srgbClr val="FFFF00"/>
                </a:highlight>
                <a:latin typeface="Calibri Light" panose="020F0302020204030204" pitchFamily="34" charset="0"/>
                <a:ea typeface="Calibri" panose="020F0502020204030204" pitchFamily="34" charset="0"/>
                <a:hlinkClick r:id="rId6"/>
              </a:rPr>
              <a:t>FR</a:t>
            </a:r>
            <a:endParaRPr lang="en-CA" sz="1600" i="1"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genda</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581229" y="1201526"/>
            <a:ext cx="10362388" cy="3323987"/>
          </a:xfrm>
          <a:prstGeom prst="rect">
            <a:avLst/>
          </a:prstGeom>
          <a:noFill/>
        </p:spPr>
        <p:txBody>
          <a:bodyPr wrap="square">
            <a:spAutoFit/>
          </a:bodyPr>
          <a:lstStyle/>
          <a:p>
            <a:pPr marL="285750" indent="-285750">
              <a:lnSpc>
                <a:spcPct val="200000"/>
              </a:lnSpc>
              <a:buFont typeface="Arial" panose="020B0604020202020204" pitchFamily="34" charset="0"/>
              <a:buChar char="•"/>
            </a:pPr>
            <a:r>
              <a:rPr lang="fr-CA" sz="2400" dirty="0">
                <a:latin typeface="Avenir Next LT Pro" panose="020B0504020202020204" pitchFamily="34" charset="0"/>
              </a:rPr>
              <a:t>Context</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Our optimization project</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New ways of using space</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Timelines and next steps</a:t>
            </a:r>
          </a:p>
          <a:p>
            <a:r>
              <a:rPr lang="fr-CA" sz="1800" dirty="0">
                <a:latin typeface="Avenir Next LT Pro" panose="020B0504020202020204" pitchFamily="34" charset="0"/>
              </a:rPr>
              <a:t> </a:t>
            </a:r>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Tree>
    <p:extLst>
      <p:ext uri="{BB962C8B-B14F-4D97-AF65-F5344CB8AC3E}">
        <p14:creationId xmlns:p14="http://schemas.microsoft.com/office/powerpoint/2010/main" val="6300065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7028C89E-7266-12B8-5E10-8C399FCFA7CF}"/>
              </a:ext>
              <a:ext uri="{C183D7F6-B498-43B3-948B-1728B52AA6E4}">
                <adec:decorative xmlns:adec="http://schemas.microsoft.com/office/drawing/2017/decorative" val="1"/>
              </a:ext>
            </a:extLst>
          </p:cNvPr>
          <p:cNvSpPr/>
          <p:nvPr>
            <p:custDataLst>
              <p:tags r:id="rId1"/>
            </p:custDataLst>
          </p:nvPr>
        </p:nvSpPr>
        <p:spPr>
          <a:xfrm>
            <a:off x="-896" y="-25756"/>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07142"/>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ntext: Budget 2024</a:t>
            </a:r>
          </a:p>
        </p:txBody>
      </p:sp>
      <p:sp>
        <p:nvSpPr>
          <p:cNvPr id="5" name="TextBox 4">
            <a:extLst>
              <a:ext uri="{FF2B5EF4-FFF2-40B4-BE49-F238E27FC236}">
                <a16:creationId xmlns:a16="http://schemas.microsoft.com/office/drawing/2014/main" id="{D0DACE9A-1229-9EEE-A180-51B071D4E977}"/>
              </a:ext>
            </a:extLst>
          </p:cNvPr>
          <p:cNvSpPr txBox="1"/>
          <p:nvPr>
            <p:custDataLst>
              <p:tags r:id="rId3"/>
            </p:custDataLst>
          </p:nvPr>
        </p:nvSpPr>
        <p:spPr>
          <a:xfrm>
            <a:off x="305924" y="1093352"/>
            <a:ext cx="10995349" cy="369332"/>
          </a:xfrm>
          <a:prstGeom prst="rect">
            <a:avLst/>
          </a:prstGeom>
          <a:noFill/>
        </p:spPr>
        <p:txBody>
          <a:bodyPr wrap="square" lIns="91440" tIns="45720" rIns="91440" bIns="45720" anchor="t">
            <a:spAutoFit/>
          </a:bodyPr>
          <a:lstStyle/>
          <a:p>
            <a:r>
              <a:rPr lang="en-CA" sz="1800" dirty="0">
                <a:latin typeface="Avenir Next LT Pro"/>
              </a:rPr>
              <a:t>The Government of Canada has announced that it will reduce its </a:t>
            </a:r>
            <a:r>
              <a:rPr lang="en-CA" sz="1800" b="1" dirty="0">
                <a:latin typeface="Avenir Next LT Pro"/>
              </a:rPr>
              <a:t>office portfolio</a:t>
            </a:r>
            <a:r>
              <a:rPr lang="en-CA" sz="1800" dirty="0">
                <a:latin typeface="Avenir Next LT Pro"/>
              </a:rPr>
              <a:t>.  </a:t>
            </a:r>
            <a:endParaRPr lang="en-CA" dirty="0">
              <a:latin typeface="Avenir Next LT Pro"/>
            </a:endParaRPr>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5">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6" name="Rectangle : coins arrondis 5" descr="50% over 10 years">
            <a:extLst>
              <a:ext uri="{FF2B5EF4-FFF2-40B4-BE49-F238E27FC236}">
                <a16:creationId xmlns:a16="http://schemas.microsoft.com/office/drawing/2014/main" id="{C37AB966-CDBE-2C55-3F98-CA62BB152F01}"/>
              </a:ext>
            </a:extLst>
          </p:cNvPr>
          <p:cNvSpPr/>
          <p:nvPr>
            <p:custDataLst>
              <p:tags r:id="rId5"/>
            </p:custDataLst>
          </p:nvPr>
        </p:nvSpPr>
        <p:spPr>
          <a:xfrm>
            <a:off x="2197224" y="1899314"/>
            <a:ext cx="1784412" cy="1754326"/>
          </a:xfrm>
          <a:prstGeom prst="roundRect">
            <a:avLst/>
          </a:prstGeom>
          <a:solidFill>
            <a:schemeClr val="accent1">
              <a:lumMod val="75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CA" dirty="0"/>
          </a:p>
        </p:txBody>
      </p:sp>
      <p:sp>
        <p:nvSpPr>
          <p:cNvPr id="7" name="Flèche : bas 6">
            <a:extLst>
              <a:ext uri="{FF2B5EF4-FFF2-40B4-BE49-F238E27FC236}">
                <a16:creationId xmlns:a16="http://schemas.microsoft.com/office/drawing/2014/main" id="{C62EB4E4-F735-AD30-5AD4-F4E6B822F95C}"/>
              </a:ext>
              <a:ext uri="{C183D7F6-B498-43B3-948B-1728B52AA6E4}">
                <adec:decorative xmlns:adec="http://schemas.microsoft.com/office/drawing/2017/decorative" val="1"/>
              </a:ext>
            </a:extLst>
          </p:cNvPr>
          <p:cNvSpPr/>
          <p:nvPr>
            <p:custDataLst>
              <p:tags r:id="rId6"/>
            </p:custDataLst>
          </p:nvPr>
        </p:nvSpPr>
        <p:spPr>
          <a:xfrm>
            <a:off x="2414727" y="2126777"/>
            <a:ext cx="381740" cy="754602"/>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8" name="ZoneTexte 7">
            <a:extLst>
              <a:ext uri="{FF2B5EF4-FFF2-40B4-BE49-F238E27FC236}">
                <a16:creationId xmlns:a16="http://schemas.microsoft.com/office/drawing/2014/main" id="{44BC3EAC-3980-4F07-943B-6EC20B7A7BDE}"/>
              </a:ext>
            </a:extLst>
          </p:cNvPr>
          <p:cNvSpPr txBox="1"/>
          <p:nvPr>
            <p:custDataLst>
              <p:tags r:id="rId7"/>
            </p:custDataLst>
          </p:nvPr>
        </p:nvSpPr>
        <p:spPr>
          <a:xfrm>
            <a:off x="2796468" y="2211690"/>
            <a:ext cx="1233996" cy="584775"/>
          </a:xfrm>
          <a:prstGeom prst="rect">
            <a:avLst/>
          </a:prstGeom>
          <a:noFill/>
          <a:ln>
            <a:noFill/>
          </a:ln>
        </p:spPr>
        <p:txBody>
          <a:bodyPr wrap="square" rtlCol="0">
            <a:spAutoFit/>
          </a:bodyPr>
          <a:lstStyle/>
          <a:p>
            <a:r>
              <a:rPr lang="en-CA" sz="32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50 %</a:t>
            </a:r>
          </a:p>
        </p:txBody>
      </p:sp>
      <p:sp>
        <p:nvSpPr>
          <p:cNvPr id="9" name="ZoneTexte 8">
            <a:extLst>
              <a:ext uri="{FF2B5EF4-FFF2-40B4-BE49-F238E27FC236}">
                <a16:creationId xmlns:a16="http://schemas.microsoft.com/office/drawing/2014/main" id="{AAE94596-646F-19F0-2DAB-4EB93FB2F7D0}"/>
              </a:ext>
            </a:extLst>
          </p:cNvPr>
          <p:cNvSpPr txBox="1"/>
          <p:nvPr>
            <p:custDataLst>
              <p:tags r:id="rId8"/>
            </p:custDataLst>
          </p:nvPr>
        </p:nvSpPr>
        <p:spPr>
          <a:xfrm>
            <a:off x="2197224" y="3005829"/>
            <a:ext cx="1780324" cy="369332"/>
          </a:xfrm>
          <a:prstGeom prst="rect">
            <a:avLst/>
          </a:prstGeom>
          <a:noFill/>
        </p:spPr>
        <p:txBody>
          <a:bodyPr wrap="square" rtlCol="0">
            <a:spAutoFit/>
          </a:bodyPr>
          <a:lstStyle/>
          <a:p>
            <a:r>
              <a:rPr lang="en-CA" b="1" dirty="0">
                <a:solidFill>
                  <a:schemeClr val="bg1"/>
                </a:solidFill>
              </a:rPr>
              <a:t>Over 10 years</a:t>
            </a:r>
          </a:p>
        </p:txBody>
      </p:sp>
      <p:sp>
        <p:nvSpPr>
          <p:cNvPr id="10" name="Flèche : droite 9">
            <a:extLst>
              <a:ext uri="{FF2B5EF4-FFF2-40B4-BE49-F238E27FC236}">
                <a16:creationId xmlns:a16="http://schemas.microsoft.com/office/drawing/2014/main" id="{DB8B833A-09AE-E2B0-B009-6B66BB533DDE}"/>
              </a:ext>
              <a:ext uri="{C183D7F6-B498-43B3-948B-1728B52AA6E4}">
                <adec:decorative xmlns:adec="http://schemas.microsoft.com/office/drawing/2017/decorative" val="1"/>
              </a:ext>
            </a:extLst>
          </p:cNvPr>
          <p:cNvSpPr/>
          <p:nvPr>
            <p:custDataLst>
              <p:tags r:id="rId9"/>
            </p:custDataLst>
          </p:nvPr>
        </p:nvSpPr>
        <p:spPr>
          <a:xfrm>
            <a:off x="4474345" y="2557920"/>
            <a:ext cx="1926455" cy="461639"/>
          </a:xfrm>
          <a:prstGeom prst="rightArrow">
            <a:avLst/>
          </a:prstGeom>
          <a:solidFill>
            <a:schemeClr val="bg1"/>
          </a:solidFill>
          <a:ln>
            <a:solidFill>
              <a:srgbClr val="4097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0" name="ZoneTexte 69">
            <a:extLst>
              <a:ext uri="{FF2B5EF4-FFF2-40B4-BE49-F238E27FC236}">
                <a16:creationId xmlns:a16="http://schemas.microsoft.com/office/drawing/2014/main" id="{48FE0CE4-8128-A030-4177-E94AA3CC9B94}"/>
              </a:ext>
            </a:extLst>
          </p:cNvPr>
          <p:cNvSpPr txBox="1"/>
          <p:nvPr>
            <p:custDataLst>
              <p:tags r:id="rId10"/>
            </p:custDataLst>
          </p:nvPr>
        </p:nvSpPr>
        <p:spPr>
          <a:xfrm>
            <a:off x="5848906" y="3489940"/>
            <a:ext cx="4722920" cy="338554"/>
          </a:xfrm>
          <a:prstGeom prst="rect">
            <a:avLst/>
          </a:prstGeom>
          <a:noFill/>
        </p:spPr>
        <p:txBody>
          <a:bodyPr wrap="square" rtlCol="0">
            <a:spAutoFit/>
          </a:bodyPr>
          <a:lstStyle/>
          <a:p>
            <a:pPr algn="ctr"/>
            <a:r>
              <a:rPr lang="en-CA" sz="1600" dirty="0"/>
              <a:t>Housing and other community priorities</a:t>
            </a:r>
          </a:p>
        </p:txBody>
      </p:sp>
      <p:sp>
        <p:nvSpPr>
          <p:cNvPr id="12" name="ZoneTexte 11">
            <a:extLst>
              <a:ext uri="{FF2B5EF4-FFF2-40B4-BE49-F238E27FC236}">
                <a16:creationId xmlns:a16="http://schemas.microsoft.com/office/drawing/2014/main" id="{6A3B9CD2-AFBF-BEF4-7CE5-AED963949FAC}"/>
              </a:ext>
            </a:extLst>
          </p:cNvPr>
          <p:cNvSpPr txBox="1"/>
          <p:nvPr>
            <p:custDataLst>
              <p:tags r:id="rId11"/>
            </p:custDataLst>
          </p:nvPr>
        </p:nvSpPr>
        <p:spPr>
          <a:xfrm>
            <a:off x="512507" y="4061536"/>
            <a:ext cx="10333608" cy="1477328"/>
          </a:xfrm>
          <a:prstGeom prst="rect">
            <a:avLst/>
          </a:prstGeom>
          <a:noFill/>
        </p:spPr>
        <p:txBody>
          <a:bodyPr wrap="square" lIns="91440" tIns="45720" rIns="91440" bIns="45720" anchor="t">
            <a:spAutoFit/>
          </a:bodyPr>
          <a:lstStyle/>
          <a:p>
            <a:r>
              <a:rPr lang="en-CA" dirty="0">
                <a:latin typeface="Avenir Next LT Pro"/>
              </a:rPr>
              <a:t>For the government to optimize its office portfolio while supporting community and housing priorities, departments and agencies need to change their ways of doing things and use space:</a:t>
            </a:r>
          </a:p>
          <a:p>
            <a:endParaRPr lang="en-CA"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Adopting a hybrid work model</a:t>
            </a:r>
          </a:p>
          <a:p>
            <a:pPr marL="285750" indent="-285750">
              <a:buFont typeface="Arial" panose="020B0604020202020204" pitchFamily="34" charset="0"/>
              <a:buChar char="•"/>
            </a:pPr>
            <a:r>
              <a:rPr lang="en-CA" dirty="0">
                <a:latin typeface="Avenir Next LT Pro" panose="020B0504020202020204" pitchFamily="34" charset="0"/>
              </a:rPr>
              <a:t>Making the transition to unassigned seating by default</a:t>
            </a:r>
          </a:p>
        </p:txBody>
      </p:sp>
      <p:grpSp>
        <p:nvGrpSpPr>
          <p:cNvPr id="15" name="Google Shape;1309;p104">
            <a:extLst>
              <a:ext uri="{FF2B5EF4-FFF2-40B4-BE49-F238E27FC236}">
                <a16:creationId xmlns:a16="http://schemas.microsoft.com/office/drawing/2014/main" id="{8DA5BD1B-687F-A8E9-DD81-60E314CBA84F}"/>
              </a:ext>
              <a:ext uri="{C183D7F6-B498-43B3-948B-1728B52AA6E4}">
                <adec:decorative xmlns:adec="http://schemas.microsoft.com/office/drawing/2017/decorative" val="1"/>
              </a:ext>
            </a:extLst>
          </p:cNvPr>
          <p:cNvGrpSpPr/>
          <p:nvPr>
            <p:custDataLst>
              <p:tags r:id="rId12"/>
            </p:custDataLst>
          </p:nvPr>
        </p:nvGrpSpPr>
        <p:grpSpPr>
          <a:xfrm>
            <a:off x="7175842" y="1847516"/>
            <a:ext cx="1337152" cy="1551210"/>
            <a:chOff x="7398008" y="2595759"/>
            <a:chExt cx="1871109" cy="2456352"/>
          </a:xfrm>
        </p:grpSpPr>
        <p:grpSp>
          <p:nvGrpSpPr>
            <p:cNvPr id="20" name="Google Shape;1310;p104">
              <a:extLst>
                <a:ext uri="{FF2B5EF4-FFF2-40B4-BE49-F238E27FC236}">
                  <a16:creationId xmlns:a16="http://schemas.microsoft.com/office/drawing/2014/main" id="{54E522D1-3F15-F04A-701F-5DBD60C54904}"/>
                </a:ext>
              </a:extLst>
            </p:cNvPr>
            <p:cNvGrpSpPr/>
            <p:nvPr/>
          </p:nvGrpSpPr>
          <p:grpSpPr>
            <a:xfrm>
              <a:off x="7398008" y="2595759"/>
              <a:ext cx="1871109" cy="2456352"/>
              <a:chOff x="7397720" y="2595653"/>
              <a:chExt cx="2188176" cy="2872590"/>
            </a:xfrm>
          </p:grpSpPr>
          <p:grpSp>
            <p:nvGrpSpPr>
              <p:cNvPr id="23" name="Google Shape;1311;p104">
                <a:extLst>
                  <a:ext uri="{FF2B5EF4-FFF2-40B4-BE49-F238E27FC236}">
                    <a16:creationId xmlns:a16="http://schemas.microsoft.com/office/drawing/2014/main" id="{B8E6D17F-0D88-177F-E5AD-B28E2F12C9BC}"/>
                  </a:ext>
                </a:extLst>
              </p:cNvPr>
              <p:cNvGrpSpPr/>
              <p:nvPr/>
            </p:nvGrpSpPr>
            <p:grpSpPr>
              <a:xfrm>
                <a:off x="7397720" y="2595653"/>
                <a:ext cx="2188176" cy="2857332"/>
                <a:chOff x="3782854" y="2244933"/>
                <a:chExt cx="2722628" cy="3555222"/>
              </a:xfrm>
            </p:grpSpPr>
            <p:sp>
              <p:nvSpPr>
                <p:cNvPr id="29" name="Google Shape;1312;p104">
                  <a:extLst>
                    <a:ext uri="{FF2B5EF4-FFF2-40B4-BE49-F238E27FC236}">
                      <a16:creationId xmlns:a16="http://schemas.microsoft.com/office/drawing/2014/main" id="{A0E6025E-4C39-C492-A915-0923EEAF50C3}"/>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0" name="Google Shape;1313;p104">
                  <a:extLst>
                    <a:ext uri="{FF2B5EF4-FFF2-40B4-BE49-F238E27FC236}">
                      <a16:creationId xmlns:a16="http://schemas.microsoft.com/office/drawing/2014/main" id="{AAAE6B21-C3F0-6199-D232-26038649B81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1" name="Google Shape;1314;p104">
                  <a:extLst>
                    <a:ext uri="{FF2B5EF4-FFF2-40B4-BE49-F238E27FC236}">
                      <a16:creationId xmlns:a16="http://schemas.microsoft.com/office/drawing/2014/main" id="{89E509A3-75F3-8F87-9867-A8DE1833F31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2" name="Google Shape;1315;p104">
                  <a:extLst>
                    <a:ext uri="{FF2B5EF4-FFF2-40B4-BE49-F238E27FC236}">
                      <a16:creationId xmlns:a16="http://schemas.microsoft.com/office/drawing/2014/main" id="{ECF0CEEC-AB10-73F8-FF53-285777A5B406}"/>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3" name="Google Shape;1316;p104">
                  <a:extLst>
                    <a:ext uri="{FF2B5EF4-FFF2-40B4-BE49-F238E27FC236}">
                      <a16:creationId xmlns:a16="http://schemas.microsoft.com/office/drawing/2014/main" id="{0FCF7426-61A4-CE77-0571-2803ED7E58A4}"/>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4" name="Google Shape;1317;p104">
                  <a:extLst>
                    <a:ext uri="{FF2B5EF4-FFF2-40B4-BE49-F238E27FC236}">
                      <a16:creationId xmlns:a16="http://schemas.microsoft.com/office/drawing/2014/main" id="{FA3BA803-3597-2254-D69E-CD3D12F6567E}"/>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5" name="Google Shape;1318;p104">
                  <a:extLst>
                    <a:ext uri="{FF2B5EF4-FFF2-40B4-BE49-F238E27FC236}">
                      <a16:creationId xmlns:a16="http://schemas.microsoft.com/office/drawing/2014/main" id="{93B4F391-5FE1-2DEB-CFAE-4D5EDFFA556E}"/>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6" name="Google Shape;1304;p104">
                  <a:extLst>
                    <a:ext uri="{FF2B5EF4-FFF2-40B4-BE49-F238E27FC236}">
                      <a16:creationId xmlns:a16="http://schemas.microsoft.com/office/drawing/2014/main" id="{59532803-71DA-1110-F913-BCDFFF195AA2}"/>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7" name="Google Shape;1319;p104">
                  <a:extLst>
                    <a:ext uri="{FF2B5EF4-FFF2-40B4-BE49-F238E27FC236}">
                      <a16:creationId xmlns:a16="http://schemas.microsoft.com/office/drawing/2014/main" id="{94A45180-175A-1288-BEF0-14A28278F207}"/>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8" name="Google Shape;1320;p104">
                  <a:extLst>
                    <a:ext uri="{FF2B5EF4-FFF2-40B4-BE49-F238E27FC236}">
                      <a16:creationId xmlns:a16="http://schemas.microsoft.com/office/drawing/2014/main" id="{F54DE717-ED71-3083-7314-4CD9D1EEF68D}"/>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39" name="Google Shape;1321;p104">
                  <a:extLst>
                    <a:ext uri="{FF2B5EF4-FFF2-40B4-BE49-F238E27FC236}">
                      <a16:creationId xmlns:a16="http://schemas.microsoft.com/office/drawing/2014/main" id="{0A9CADB0-5230-F233-24FF-594559B7912B}"/>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0" name="Google Shape;1322;p104">
                  <a:extLst>
                    <a:ext uri="{FF2B5EF4-FFF2-40B4-BE49-F238E27FC236}">
                      <a16:creationId xmlns:a16="http://schemas.microsoft.com/office/drawing/2014/main" id="{1B407058-991F-EA26-99EE-3547CE642656}"/>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1" name="Google Shape;1297;p104">
                  <a:extLst>
                    <a:ext uri="{FF2B5EF4-FFF2-40B4-BE49-F238E27FC236}">
                      <a16:creationId xmlns:a16="http://schemas.microsoft.com/office/drawing/2014/main" id="{E9EE14A2-571E-EE6E-80E4-9E70EE820063}"/>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2" name="Google Shape;1323;p104">
                  <a:extLst>
                    <a:ext uri="{FF2B5EF4-FFF2-40B4-BE49-F238E27FC236}">
                      <a16:creationId xmlns:a16="http://schemas.microsoft.com/office/drawing/2014/main" id="{DA1B0F08-AC42-81A8-48B4-A009F9707157}"/>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3" name="Google Shape;1324;p104">
                  <a:extLst>
                    <a:ext uri="{FF2B5EF4-FFF2-40B4-BE49-F238E27FC236}">
                      <a16:creationId xmlns:a16="http://schemas.microsoft.com/office/drawing/2014/main" id="{06E350D4-531C-9E88-E71B-AD07ED026359}"/>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4" name="Google Shape;1325;p104">
                  <a:extLst>
                    <a:ext uri="{FF2B5EF4-FFF2-40B4-BE49-F238E27FC236}">
                      <a16:creationId xmlns:a16="http://schemas.microsoft.com/office/drawing/2014/main" id="{E1A37DB1-37E6-480D-F6A3-4B4B43F9EED5}"/>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5" name="Google Shape;1326;p104">
                  <a:extLst>
                    <a:ext uri="{FF2B5EF4-FFF2-40B4-BE49-F238E27FC236}">
                      <a16:creationId xmlns:a16="http://schemas.microsoft.com/office/drawing/2014/main" id="{4B8B2B05-931F-4821-C654-43809A0C6398}"/>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6" name="Google Shape;1327;p104">
                  <a:extLst>
                    <a:ext uri="{FF2B5EF4-FFF2-40B4-BE49-F238E27FC236}">
                      <a16:creationId xmlns:a16="http://schemas.microsoft.com/office/drawing/2014/main" id="{E05CDB04-758F-A16E-0C7C-81482A944D84}"/>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7" name="Google Shape;1328;p104">
                  <a:extLst>
                    <a:ext uri="{FF2B5EF4-FFF2-40B4-BE49-F238E27FC236}">
                      <a16:creationId xmlns:a16="http://schemas.microsoft.com/office/drawing/2014/main" id="{41D15CB2-0185-C50E-B34A-7DC9BAFEC86E}"/>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8" name="Google Shape;1329;p104">
                  <a:extLst>
                    <a:ext uri="{FF2B5EF4-FFF2-40B4-BE49-F238E27FC236}">
                      <a16:creationId xmlns:a16="http://schemas.microsoft.com/office/drawing/2014/main" id="{75E7B4C9-F60F-E60D-1203-37883966A6FD}"/>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49" name="Google Shape;1330;p104">
                  <a:extLst>
                    <a:ext uri="{FF2B5EF4-FFF2-40B4-BE49-F238E27FC236}">
                      <a16:creationId xmlns:a16="http://schemas.microsoft.com/office/drawing/2014/main" id="{467CA39C-152F-D143-16E6-F0AEBF1F0EF6}"/>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0" name="Google Shape;1331;p104">
                  <a:extLst>
                    <a:ext uri="{FF2B5EF4-FFF2-40B4-BE49-F238E27FC236}">
                      <a16:creationId xmlns:a16="http://schemas.microsoft.com/office/drawing/2014/main" id="{169AFF5D-67CE-AA9F-C71D-910F3D59E065}"/>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1" name="Google Shape;1332;p104">
                  <a:extLst>
                    <a:ext uri="{FF2B5EF4-FFF2-40B4-BE49-F238E27FC236}">
                      <a16:creationId xmlns:a16="http://schemas.microsoft.com/office/drawing/2014/main" id="{17644F83-71B6-9560-AF3E-09A8872C809B}"/>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2" name="Google Shape;1333;p104">
                  <a:extLst>
                    <a:ext uri="{FF2B5EF4-FFF2-40B4-BE49-F238E27FC236}">
                      <a16:creationId xmlns:a16="http://schemas.microsoft.com/office/drawing/2014/main" id="{D9375901-672F-F732-57F8-D153D824344D}"/>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3" name="Google Shape;1334;p104">
                  <a:extLst>
                    <a:ext uri="{FF2B5EF4-FFF2-40B4-BE49-F238E27FC236}">
                      <a16:creationId xmlns:a16="http://schemas.microsoft.com/office/drawing/2014/main" id="{B9F6722B-6928-3A6A-BBB8-231A8B9E3259}"/>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4" name="Google Shape;1335;p104">
                  <a:extLst>
                    <a:ext uri="{FF2B5EF4-FFF2-40B4-BE49-F238E27FC236}">
                      <a16:creationId xmlns:a16="http://schemas.microsoft.com/office/drawing/2014/main" id="{15F08EEC-C863-3F61-556F-64BE7ED3159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5" name="Google Shape;1336;p104">
                  <a:extLst>
                    <a:ext uri="{FF2B5EF4-FFF2-40B4-BE49-F238E27FC236}">
                      <a16:creationId xmlns:a16="http://schemas.microsoft.com/office/drawing/2014/main" id="{731C5ADA-D8AA-6942-B963-257CD97AA0F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6" name="Google Shape;1337;p104">
                  <a:extLst>
                    <a:ext uri="{FF2B5EF4-FFF2-40B4-BE49-F238E27FC236}">
                      <a16:creationId xmlns:a16="http://schemas.microsoft.com/office/drawing/2014/main" id="{6C95EF8D-478B-B864-D6F8-128D10DBE16A}"/>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7" name="Google Shape;1338;p104">
                  <a:extLst>
                    <a:ext uri="{FF2B5EF4-FFF2-40B4-BE49-F238E27FC236}">
                      <a16:creationId xmlns:a16="http://schemas.microsoft.com/office/drawing/2014/main" id="{816207AB-4332-E282-4740-48B60179E40B}"/>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58" name="Google Shape;1339;p104">
                  <a:extLst>
                    <a:ext uri="{FF2B5EF4-FFF2-40B4-BE49-F238E27FC236}">
                      <a16:creationId xmlns:a16="http://schemas.microsoft.com/office/drawing/2014/main" id="{DCF93223-AC8F-F71A-B2CD-96C59C41CF86}"/>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9" name="Google Shape;1340;p104">
                  <a:extLst>
                    <a:ext uri="{FF2B5EF4-FFF2-40B4-BE49-F238E27FC236}">
                      <a16:creationId xmlns:a16="http://schemas.microsoft.com/office/drawing/2014/main" id="{EA713421-7FA7-25D0-032C-C974F1F3841F}"/>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0" name="Google Shape;1341;p104">
                  <a:extLst>
                    <a:ext uri="{FF2B5EF4-FFF2-40B4-BE49-F238E27FC236}">
                      <a16:creationId xmlns:a16="http://schemas.microsoft.com/office/drawing/2014/main" id="{8A37BC0E-C32F-FF48-941E-D60AD0227F5D}"/>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1" name="Google Shape;1342;p104">
                  <a:extLst>
                    <a:ext uri="{FF2B5EF4-FFF2-40B4-BE49-F238E27FC236}">
                      <a16:creationId xmlns:a16="http://schemas.microsoft.com/office/drawing/2014/main" id="{3CC2548D-A9D4-809D-5138-69D680046072}"/>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2" name="Google Shape;1343;p104">
                  <a:extLst>
                    <a:ext uri="{FF2B5EF4-FFF2-40B4-BE49-F238E27FC236}">
                      <a16:creationId xmlns:a16="http://schemas.microsoft.com/office/drawing/2014/main" id="{308C2919-034B-E990-F46C-54F7529BB2C5}"/>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3" name="Google Shape;1344;p104">
                  <a:extLst>
                    <a:ext uri="{FF2B5EF4-FFF2-40B4-BE49-F238E27FC236}">
                      <a16:creationId xmlns:a16="http://schemas.microsoft.com/office/drawing/2014/main" id="{DA5F4491-E61A-07F2-0208-60274B9E6707}"/>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4" name="Google Shape;1345;p104">
                  <a:extLst>
                    <a:ext uri="{FF2B5EF4-FFF2-40B4-BE49-F238E27FC236}">
                      <a16:creationId xmlns:a16="http://schemas.microsoft.com/office/drawing/2014/main" id="{07095B1B-CF08-8CAF-A324-30985537A043}"/>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5" name="Google Shape;1346;p104">
                  <a:extLst>
                    <a:ext uri="{FF2B5EF4-FFF2-40B4-BE49-F238E27FC236}">
                      <a16:creationId xmlns:a16="http://schemas.microsoft.com/office/drawing/2014/main" id="{63DCCFF5-A839-38FB-1D37-132A92D472C1}"/>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6" name="Google Shape;1347;p104">
                  <a:extLst>
                    <a:ext uri="{FF2B5EF4-FFF2-40B4-BE49-F238E27FC236}">
                      <a16:creationId xmlns:a16="http://schemas.microsoft.com/office/drawing/2014/main" id="{244FED0A-5548-C9BD-83C4-8A71A61A4405}"/>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7" name="Google Shape;1348;p104">
                  <a:extLst>
                    <a:ext uri="{FF2B5EF4-FFF2-40B4-BE49-F238E27FC236}">
                      <a16:creationId xmlns:a16="http://schemas.microsoft.com/office/drawing/2014/main" id="{B1258444-2B11-A1B0-2A18-A67A25E28034}"/>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8" name="Google Shape;1349;p104">
                  <a:extLst>
                    <a:ext uri="{FF2B5EF4-FFF2-40B4-BE49-F238E27FC236}">
                      <a16:creationId xmlns:a16="http://schemas.microsoft.com/office/drawing/2014/main" id="{AF06FDE0-3596-1A96-94A8-B82FAFB78ACC}"/>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69" name="Google Shape;1350;p104">
                  <a:extLst>
                    <a:ext uri="{FF2B5EF4-FFF2-40B4-BE49-F238E27FC236}">
                      <a16:creationId xmlns:a16="http://schemas.microsoft.com/office/drawing/2014/main" id="{F4A13062-53F2-6F84-B496-2634DB2E87AF}"/>
                    </a:ext>
                  </a:extLst>
                </p:cNvPr>
                <p:cNvSpPr/>
                <p:nvPr/>
              </p:nvSpPr>
              <p:spPr>
                <a:xfrm>
                  <a:off x="3782854" y="5684244"/>
                  <a:ext cx="2722628" cy="115911"/>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grpSp>
          <p:sp>
            <p:nvSpPr>
              <p:cNvPr id="24" name="Google Shape;1351;p104">
                <a:extLst>
                  <a:ext uri="{FF2B5EF4-FFF2-40B4-BE49-F238E27FC236}">
                    <a16:creationId xmlns:a16="http://schemas.microsoft.com/office/drawing/2014/main" id="{55E0100F-188C-1B9D-8084-05834FD5FF6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25" name="Google Shape;1352;p104">
                <a:extLst>
                  <a:ext uri="{FF2B5EF4-FFF2-40B4-BE49-F238E27FC236}">
                    <a16:creationId xmlns:a16="http://schemas.microsoft.com/office/drawing/2014/main" id="{7E4519B3-99F1-CC09-4C1F-244341920E23}"/>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grpSp>
            <p:nvGrpSpPr>
              <p:cNvPr id="26" name="Google Shape;1353;p104">
                <a:extLst>
                  <a:ext uri="{FF2B5EF4-FFF2-40B4-BE49-F238E27FC236}">
                    <a16:creationId xmlns:a16="http://schemas.microsoft.com/office/drawing/2014/main" id="{FCB437F6-4474-3C14-9F73-750B80249742}"/>
                  </a:ext>
                </a:extLst>
              </p:cNvPr>
              <p:cNvGrpSpPr/>
              <p:nvPr/>
            </p:nvGrpSpPr>
            <p:grpSpPr>
              <a:xfrm>
                <a:off x="7402085" y="4400279"/>
                <a:ext cx="306080" cy="1067964"/>
                <a:chOff x="3146566" y="4705830"/>
                <a:chExt cx="275700" cy="823920"/>
              </a:xfrm>
            </p:grpSpPr>
            <p:sp>
              <p:nvSpPr>
                <p:cNvPr id="27" name="Google Shape;1354;p104">
                  <a:extLst>
                    <a:ext uri="{FF2B5EF4-FFF2-40B4-BE49-F238E27FC236}">
                      <a16:creationId xmlns:a16="http://schemas.microsoft.com/office/drawing/2014/main" id="{65E9AD83-F111-1708-33A6-EE8AFE212572}"/>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sp>
              <p:nvSpPr>
                <p:cNvPr id="28" name="Google Shape;1355;p104">
                  <a:extLst>
                    <a:ext uri="{FF2B5EF4-FFF2-40B4-BE49-F238E27FC236}">
                      <a16:creationId xmlns:a16="http://schemas.microsoft.com/office/drawing/2014/main" id="{CB36570A-847F-6211-9E8D-F1FC8D86F2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en-CA" sz="1800" dirty="0">
                    <a:solidFill>
                      <a:srgbClr val="F1F2F2"/>
                    </a:solidFill>
                    <a:latin typeface="Avenir Next LT Pro" panose="020B0504020202020204" pitchFamily="34" charset="0"/>
                    <a:ea typeface="Arial"/>
                    <a:cs typeface="Arial"/>
                    <a:sym typeface="Arial"/>
                  </a:endParaRPr>
                </a:p>
              </p:txBody>
            </p:sp>
          </p:grpSp>
        </p:grpSp>
        <p:pic>
          <p:nvPicPr>
            <p:cNvPr id="21" name="Google Shape;1356;p104" descr="Picnic table with solid fill">
              <a:extLst>
                <a:ext uri="{FF2B5EF4-FFF2-40B4-BE49-F238E27FC236}">
                  <a16:creationId xmlns:a16="http://schemas.microsoft.com/office/drawing/2014/main" id="{6B2FB0C5-D6D6-09C9-323E-524BDA1F9AE2}"/>
                </a:ext>
              </a:extLst>
            </p:cNvPr>
            <p:cNvPicPr preferRelativeResize="0"/>
            <p:nvPr/>
          </p:nvPicPr>
          <p:blipFill rotWithShape="1">
            <a:blip r:embed="rId16">
              <a:alphaModFix/>
            </a:blip>
            <a:srcRect/>
            <a:stretch/>
          </p:blipFill>
          <p:spPr>
            <a:xfrm>
              <a:off x="8854378" y="4753095"/>
              <a:ext cx="261700" cy="261700"/>
            </a:xfrm>
            <a:prstGeom prst="rect">
              <a:avLst/>
            </a:prstGeom>
            <a:noFill/>
            <a:ln>
              <a:noFill/>
            </a:ln>
          </p:spPr>
        </p:pic>
        <p:sp>
          <p:nvSpPr>
            <p:cNvPr id="22" name="Google Shape;1357;p104" descr="Bicycle Icon">
              <a:extLst>
                <a:ext uri="{FF2B5EF4-FFF2-40B4-BE49-F238E27FC236}">
                  <a16:creationId xmlns:a16="http://schemas.microsoft.com/office/drawing/2014/main" id="{D584EBA7-CBDB-A407-2BDD-101FF8371B4B}"/>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en-CA" sz="1800" dirty="0">
                <a:solidFill>
                  <a:srgbClr val="000000"/>
                </a:solidFill>
                <a:latin typeface="Avenir Next LT Pro" panose="020B0504020202020204" pitchFamily="34" charset="0"/>
                <a:ea typeface="Arial"/>
                <a:cs typeface="Arial"/>
                <a:sym typeface="Arial"/>
              </a:endParaRPr>
            </a:p>
          </p:txBody>
        </p:sp>
      </p:grpSp>
    </p:spTree>
    <p:extLst>
      <p:ext uri="{BB962C8B-B14F-4D97-AF65-F5344CB8AC3E}">
        <p14:creationId xmlns:p14="http://schemas.microsoft.com/office/powerpoint/2010/main" val="2643018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E109C5DE-2F60-F210-2203-131E1C4A07EF}"/>
              </a:ext>
              <a:ext uri="{C183D7F6-B498-43B3-948B-1728B52AA6E4}">
                <adec:decorative xmlns:adec="http://schemas.microsoft.com/office/drawing/2017/decorative" val="1"/>
              </a:ext>
            </a:extLst>
          </p:cNvPr>
          <p:cNvSpPr/>
          <p:nvPr>
            <p:custDataLst>
              <p:tags r:id="rId1"/>
            </p:custDataLst>
          </p:nvPr>
        </p:nvSpPr>
        <p:spPr>
          <a:xfrm>
            <a:off x="10188" y="-16566"/>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6001"/>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hat this means for </a:t>
            </a:r>
            <a:r>
              <a:rPr kumimoji="0" lang="en-CA" sz="3200" b="1" i="0" u="none" strike="noStrike" kern="1200" cap="none" spc="0" normalizeH="0" baseline="0" noProof="0" dirty="0">
                <a:ln>
                  <a:noFill/>
                </a:ln>
                <a:solidFill>
                  <a:schemeClr val="bg1"/>
                </a:solidFill>
                <a:effectLst/>
                <a:uLnTx/>
                <a:uFillTx/>
                <a:latin typeface="Avenir Next LT Pro Demi" panose="020B0704020202020204" pitchFamily="34" charset="0"/>
                <a:ea typeface="+mj-ea"/>
                <a:cs typeface="Arial" panose="020B0604020202020204" pitchFamily="34" charset="0"/>
              </a:rPr>
              <a:t>[</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ame of organization</a:t>
            </a:r>
            <a:r>
              <a:rPr kumimoji="0" lang="en-CA" sz="3200" b="1" i="0" u="none" strike="noStrike" kern="1200" cap="none" spc="0" normalizeH="0" baseline="0" noProof="0" dirty="0">
                <a:ln>
                  <a:noFill/>
                </a:ln>
                <a:solidFill>
                  <a:schemeClr val="bg1"/>
                </a:solidFill>
                <a:effectLst/>
                <a:uLnTx/>
                <a:uFillTx/>
                <a:latin typeface="Avenir Next LT Pro Demi" panose="020B0704020202020204" pitchFamily="34" charset="0"/>
                <a:ea typeface="+mj-ea"/>
                <a:cs typeface="Arial" panose="020B0604020202020204" pitchFamily="34" charset="0"/>
              </a:rPr>
              <a:t>]</a:t>
            </a:r>
            <a:endPar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3"/>
            </p:custDataLst>
          </p:nvPr>
        </p:nvPicPr>
        <p:blipFill>
          <a:blip r:embed="rId25">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grpSp>
        <p:nvGrpSpPr>
          <p:cNvPr id="6" name="Gruppieren 269">
            <a:extLst>
              <a:ext uri="{FF2B5EF4-FFF2-40B4-BE49-F238E27FC236}">
                <a16:creationId xmlns:a16="http://schemas.microsoft.com/office/drawing/2014/main" id="{836673FF-D0BB-C36D-C2D5-F3A93BF20D2F}"/>
              </a:ext>
              <a:ext uri="{C183D7F6-B498-43B3-948B-1728B52AA6E4}">
                <adec:decorative xmlns:adec="http://schemas.microsoft.com/office/drawing/2017/decorative" val="1"/>
              </a:ext>
            </a:extLst>
          </p:cNvPr>
          <p:cNvGrpSpPr>
            <a:grpSpLocks noChangeAspect="1"/>
          </p:cNvGrpSpPr>
          <p:nvPr>
            <p:custDataLst>
              <p:tags r:id="rId4"/>
            </p:custDataLst>
          </p:nvPr>
        </p:nvGrpSpPr>
        <p:grpSpPr bwMode="gray">
          <a:xfrm>
            <a:off x="1523526" y="1264633"/>
            <a:ext cx="603603" cy="480230"/>
            <a:chOff x="7230825" y="5801578"/>
            <a:chExt cx="541734" cy="431006"/>
          </a:xfrm>
          <a:solidFill>
            <a:schemeClr val="tx2">
              <a:lumMod val="75000"/>
            </a:schemeClr>
          </a:solidFill>
        </p:grpSpPr>
        <p:sp>
          <p:nvSpPr>
            <p:cNvPr id="7" name="Freeform 1546">
              <a:extLst>
                <a:ext uri="{FF2B5EF4-FFF2-40B4-BE49-F238E27FC236}">
                  <a16:creationId xmlns:a16="http://schemas.microsoft.com/office/drawing/2014/main" id="{DF1B54B1-FDC7-272E-ACD2-429233288AAA}"/>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8" name="Freeform 1547">
              <a:extLst>
                <a:ext uri="{FF2B5EF4-FFF2-40B4-BE49-F238E27FC236}">
                  <a16:creationId xmlns:a16="http://schemas.microsoft.com/office/drawing/2014/main" id="{33327C22-3B62-383E-8C0F-5910728BA2F8}"/>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9" name="Freeform 1548">
              <a:extLst>
                <a:ext uri="{FF2B5EF4-FFF2-40B4-BE49-F238E27FC236}">
                  <a16:creationId xmlns:a16="http://schemas.microsoft.com/office/drawing/2014/main" id="{BEF3A216-9A22-0368-8CF4-1C7173CCA6B6}"/>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0" name="Freeform 1549">
              <a:extLst>
                <a:ext uri="{FF2B5EF4-FFF2-40B4-BE49-F238E27FC236}">
                  <a16:creationId xmlns:a16="http://schemas.microsoft.com/office/drawing/2014/main" id="{924FC582-7982-B973-AF78-F42BE18EFCE6}"/>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1" name="Freeform 1550">
              <a:extLst>
                <a:ext uri="{FF2B5EF4-FFF2-40B4-BE49-F238E27FC236}">
                  <a16:creationId xmlns:a16="http://schemas.microsoft.com/office/drawing/2014/main" id="{7FAB6D7A-2579-7F4E-E1F9-1C892DC4A1AB}"/>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12" name="Rectangle 11">
            <a:extLst>
              <a:ext uri="{FF2B5EF4-FFF2-40B4-BE49-F238E27FC236}">
                <a16:creationId xmlns:a16="http://schemas.microsoft.com/office/drawing/2014/main" id="{B5E05B46-CF1C-10E8-CF27-43FD5B4CD2B6}"/>
              </a:ext>
            </a:extLst>
          </p:cNvPr>
          <p:cNvSpPr/>
          <p:nvPr>
            <p:custDataLst>
              <p:tags r:id="rId5"/>
            </p:custDataLst>
          </p:nvPr>
        </p:nvSpPr>
        <p:spPr>
          <a:xfrm>
            <a:off x="2301842" y="1340249"/>
            <a:ext cx="159320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chemeClr val="bg1"/>
                </a:solidFill>
                <a:effectLst/>
                <a:uLnTx/>
                <a:uFillTx/>
                <a:latin typeface="Avenir Next LT Pro" panose="020B0504020202020204" pitchFamily="34" charset="0"/>
              </a:rPr>
              <a:t>N</a:t>
            </a:r>
            <a:r>
              <a:rPr kumimoji="0" lang="en-CA" sz="1800" b="1" i="0" u="none" strike="noStrike" kern="1200" cap="none" spc="0" normalizeH="0" baseline="0" dirty="0">
                <a:ln>
                  <a:noFill/>
                </a:ln>
                <a:solidFill>
                  <a:schemeClr val="bg1"/>
                </a:solidFill>
                <a:effectLst/>
                <a:uLnTx/>
                <a:uFillTx/>
                <a:latin typeface="Avenir Next LT Pro" panose="020B0504020202020204" pitchFamily="34" charset="0"/>
              </a:rPr>
              <a:t>ow</a:t>
            </a:r>
          </a:p>
        </p:txBody>
      </p:sp>
      <p:sp>
        <p:nvSpPr>
          <p:cNvPr id="13" name="Rectangle: Rounded Corners 248">
            <a:extLst>
              <a:ext uri="{FF2B5EF4-FFF2-40B4-BE49-F238E27FC236}">
                <a16:creationId xmlns:a16="http://schemas.microsoft.com/office/drawing/2014/main" id="{24D3B48C-3E45-5072-0313-084DCF56D01C}"/>
              </a:ext>
            </a:extLst>
          </p:cNvPr>
          <p:cNvSpPr/>
          <p:nvPr>
            <p:custDataLst>
              <p:tags r:id="rId6"/>
            </p:custDataLst>
          </p:nvPr>
        </p:nvSpPr>
        <p:spPr>
          <a:xfrm>
            <a:off x="792054" y="2019566"/>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Address</a:t>
            </a:r>
            <a:endParaRPr lang="en-CA" sz="1600" dirty="0">
              <a:solidFill>
                <a:srgbClr val="FF0000"/>
              </a:solidFill>
              <a:highlight>
                <a:srgbClr val="FFFF00"/>
              </a:highlight>
              <a:latin typeface="Avenir Next LT Pro" panose="020B0504020202020204" pitchFamily="34" charset="0"/>
            </a:endParaRPr>
          </a:p>
        </p:txBody>
      </p:sp>
      <p:sp>
        <p:nvSpPr>
          <p:cNvPr id="14" name="Rectangle: Rounded Corners 249">
            <a:extLst>
              <a:ext uri="{FF2B5EF4-FFF2-40B4-BE49-F238E27FC236}">
                <a16:creationId xmlns:a16="http://schemas.microsoft.com/office/drawing/2014/main" id="{D8AE10C8-3898-213E-7C33-47F8EE2CB0CA}"/>
              </a:ext>
            </a:extLst>
          </p:cNvPr>
          <p:cNvSpPr/>
          <p:nvPr>
            <p:custDataLst>
              <p:tags r:id="rId7"/>
            </p:custDataLst>
          </p:nvPr>
        </p:nvSpPr>
        <p:spPr>
          <a:xfrm>
            <a:off x="792053" y="2581456"/>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umber of floors</a:t>
            </a:r>
          </a:p>
        </p:txBody>
      </p:sp>
      <p:sp>
        <p:nvSpPr>
          <p:cNvPr id="15" name="Rectangle: Rounded Corners 152" descr="Assigned workstation for one individual">
            <a:extLst>
              <a:ext uri="{FF2B5EF4-FFF2-40B4-BE49-F238E27FC236}">
                <a16:creationId xmlns:a16="http://schemas.microsoft.com/office/drawing/2014/main" id="{250D293B-CD7C-D21D-0290-87DD62438189}"/>
              </a:ext>
            </a:extLst>
          </p:cNvPr>
          <p:cNvSpPr/>
          <p:nvPr>
            <p:custDataLst>
              <p:tags r:id="rId8"/>
            </p:custDataLst>
          </p:nvPr>
        </p:nvSpPr>
        <p:spPr>
          <a:xfrm>
            <a:off x="792053" y="3250814"/>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sp>
        <p:nvSpPr>
          <p:cNvPr id="16" name="TextBox 151">
            <a:extLst>
              <a:ext uri="{FF2B5EF4-FFF2-40B4-BE49-F238E27FC236}">
                <a16:creationId xmlns:a16="http://schemas.microsoft.com/office/drawing/2014/main" id="{491B984F-4AFE-70B5-52DF-3AC5E21CC468}"/>
              </a:ext>
              <a:ext uri="{C183D7F6-B498-43B3-948B-1728B52AA6E4}">
                <adec:decorative xmlns:adec="http://schemas.microsoft.com/office/drawing/2017/decorative" val="1"/>
              </a:ext>
            </a:extLst>
          </p:cNvPr>
          <p:cNvSpPr txBox="1"/>
          <p:nvPr>
            <p:custDataLst>
              <p:tags r:id="rId9"/>
            </p:custDataLst>
          </p:nvPr>
        </p:nvSpPr>
        <p:spPr>
          <a:xfrm>
            <a:off x="967666" y="3538282"/>
            <a:ext cx="1873925"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Assigned 1:1 workstations</a:t>
            </a:r>
          </a:p>
        </p:txBody>
      </p:sp>
      <p:pic>
        <p:nvPicPr>
          <p:cNvPr id="17" name="Picture 148">
            <a:extLst>
              <a:ext uri="{FF2B5EF4-FFF2-40B4-BE49-F238E27FC236}">
                <a16:creationId xmlns:a16="http://schemas.microsoft.com/office/drawing/2014/main" id="{275EB9EA-242E-E32A-7DF8-E542F80E1164}"/>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26" cstate="screen">
            <a:extLst>
              <a:ext uri="{28A0092B-C50C-407E-A947-70E740481C1C}">
                <a14:useLocalDpi xmlns:a14="http://schemas.microsoft.com/office/drawing/2010/main" val="0"/>
              </a:ext>
            </a:extLst>
          </a:blip>
          <a:stretch>
            <a:fillRect/>
          </a:stretch>
        </p:blipFill>
        <p:spPr>
          <a:xfrm>
            <a:off x="3118573" y="3374894"/>
            <a:ext cx="492134" cy="929265"/>
          </a:xfrm>
          <a:prstGeom prst="rect">
            <a:avLst/>
          </a:prstGeom>
        </p:spPr>
      </p:pic>
      <p:pic>
        <p:nvPicPr>
          <p:cNvPr id="18" name="Picture 149">
            <a:extLst>
              <a:ext uri="{FF2B5EF4-FFF2-40B4-BE49-F238E27FC236}">
                <a16:creationId xmlns:a16="http://schemas.microsoft.com/office/drawing/2014/main" id="{82BBBD58-FA6F-6EC8-AECE-391F7F6F74D3}"/>
              </a:ext>
              <a:ext uri="{C183D7F6-B498-43B3-948B-1728B52AA6E4}">
                <adec:decorative xmlns:adec="http://schemas.microsoft.com/office/drawing/2017/decorative" val="1"/>
              </a:ext>
            </a:extLst>
          </p:cNvPr>
          <p:cNvPicPr>
            <a:picLocks noChangeAspect="1"/>
          </p:cNvPicPr>
          <p:nvPr>
            <p:custDataLst>
              <p:tags r:id="rId11"/>
            </p:custDataLst>
          </p:nvPr>
        </p:nvPicPr>
        <p:blipFill>
          <a:blip r:embed="rId27" cstate="screen">
            <a:extLst>
              <a:ext uri="{28A0092B-C50C-407E-A947-70E740481C1C}">
                <a14:useLocalDpi xmlns:a14="http://schemas.microsoft.com/office/drawing/2010/main" val="0"/>
              </a:ext>
            </a:extLst>
          </a:blip>
          <a:stretch>
            <a:fillRect/>
          </a:stretch>
        </p:blipFill>
        <p:spPr>
          <a:xfrm>
            <a:off x="3638709" y="4240030"/>
            <a:ext cx="469801" cy="848938"/>
          </a:xfrm>
          <a:prstGeom prst="rect">
            <a:avLst/>
          </a:prstGeom>
        </p:spPr>
      </p:pic>
      <p:sp>
        <p:nvSpPr>
          <p:cNvPr id="19" name="Freeform: Shape 247">
            <a:extLst>
              <a:ext uri="{FF2B5EF4-FFF2-40B4-BE49-F238E27FC236}">
                <a16:creationId xmlns:a16="http://schemas.microsoft.com/office/drawing/2014/main" id="{F04B82CF-8286-8190-4CBE-7BDA4BB27B00}"/>
              </a:ext>
              <a:ext uri="{C183D7F6-B498-43B3-948B-1728B52AA6E4}">
                <adec:decorative xmlns:adec="http://schemas.microsoft.com/office/drawing/2017/decorative" val="1"/>
              </a:ext>
            </a:extLst>
          </p:cNvPr>
          <p:cNvSpPr/>
          <p:nvPr>
            <p:custDataLst>
              <p:tags r:id="rId12"/>
            </p:custDataLst>
          </p:nvPr>
        </p:nvSpPr>
        <p:spPr>
          <a:xfrm>
            <a:off x="3998520" y="1310584"/>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grpSp>
        <p:nvGrpSpPr>
          <p:cNvPr id="20" name="Gruppieren 269">
            <a:extLst>
              <a:ext uri="{FF2B5EF4-FFF2-40B4-BE49-F238E27FC236}">
                <a16:creationId xmlns:a16="http://schemas.microsoft.com/office/drawing/2014/main" id="{DCF7A223-1B46-DCE0-C185-178B672ADE30}"/>
              </a:ext>
              <a:ext uri="{C183D7F6-B498-43B3-948B-1728B52AA6E4}">
                <adec:decorative xmlns:adec="http://schemas.microsoft.com/office/drawing/2017/decorative" val="1"/>
              </a:ext>
            </a:extLst>
          </p:cNvPr>
          <p:cNvGrpSpPr>
            <a:grpSpLocks noChangeAspect="1"/>
          </p:cNvGrpSpPr>
          <p:nvPr>
            <p:custDataLst>
              <p:tags r:id="rId13"/>
            </p:custDataLst>
          </p:nvPr>
        </p:nvGrpSpPr>
        <p:grpSpPr bwMode="gray">
          <a:xfrm>
            <a:off x="7393384" y="1264632"/>
            <a:ext cx="603603" cy="480230"/>
            <a:chOff x="7230825" y="5801578"/>
            <a:chExt cx="541734" cy="431006"/>
          </a:xfrm>
          <a:solidFill>
            <a:srgbClr val="76B49F"/>
          </a:solidFill>
        </p:grpSpPr>
        <p:sp>
          <p:nvSpPr>
            <p:cNvPr id="21" name="Freeform 1546">
              <a:extLst>
                <a:ext uri="{FF2B5EF4-FFF2-40B4-BE49-F238E27FC236}">
                  <a16:creationId xmlns:a16="http://schemas.microsoft.com/office/drawing/2014/main" id="{F9A80AC9-F28F-76B1-5684-C481593D7723}"/>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22" name="Freeform 1547">
              <a:extLst>
                <a:ext uri="{FF2B5EF4-FFF2-40B4-BE49-F238E27FC236}">
                  <a16:creationId xmlns:a16="http://schemas.microsoft.com/office/drawing/2014/main" id="{89B21B3A-D85A-B8C7-48F8-3CA73E7C2320}"/>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23" name="Freeform 1548">
              <a:extLst>
                <a:ext uri="{FF2B5EF4-FFF2-40B4-BE49-F238E27FC236}">
                  <a16:creationId xmlns:a16="http://schemas.microsoft.com/office/drawing/2014/main" id="{4EDF1A38-1D91-82B4-3822-2C10FFC49D78}"/>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24" name="Freeform 1549">
              <a:extLst>
                <a:ext uri="{FF2B5EF4-FFF2-40B4-BE49-F238E27FC236}">
                  <a16:creationId xmlns:a16="http://schemas.microsoft.com/office/drawing/2014/main" id="{62B1A6BC-85B8-8455-E5E4-944980977CE0}"/>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25" name="Freeform 1550">
              <a:extLst>
                <a:ext uri="{FF2B5EF4-FFF2-40B4-BE49-F238E27FC236}">
                  <a16:creationId xmlns:a16="http://schemas.microsoft.com/office/drawing/2014/main" id="{4C6558A7-8461-4B90-34AF-9C2C38721B9B}"/>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26" name="Rectangle 25">
            <a:extLst>
              <a:ext uri="{FF2B5EF4-FFF2-40B4-BE49-F238E27FC236}">
                <a16:creationId xmlns:a16="http://schemas.microsoft.com/office/drawing/2014/main" id="{3EB05C5D-2B3E-2DE3-4C8F-BD63A7AFA07B}"/>
              </a:ext>
            </a:extLst>
          </p:cNvPr>
          <p:cNvSpPr/>
          <p:nvPr>
            <p:custDataLst>
              <p:tags r:id="rId14"/>
            </p:custDataLst>
          </p:nvPr>
        </p:nvSpPr>
        <p:spPr>
          <a:xfrm>
            <a:off x="8171700" y="1336034"/>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27" name="Rectangle: Rounded Corners 251">
            <a:extLst>
              <a:ext uri="{FF2B5EF4-FFF2-40B4-BE49-F238E27FC236}">
                <a16:creationId xmlns:a16="http://schemas.microsoft.com/office/drawing/2014/main" id="{57DEDA11-4574-71ED-2E61-C7774C243B21}"/>
              </a:ext>
            </a:extLst>
          </p:cNvPr>
          <p:cNvSpPr/>
          <p:nvPr>
            <p:custDataLst>
              <p:tags r:id="rId15"/>
            </p:custDataLst>
          </p:nvPr>
        </p:nvSpPr>
        <p:spPr>
          <a:xfrm>
            <a:off x="6794648" y="2019566"/>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address</a:t>
            </a:r>
            <a:endParaRPr lang="en-CA" sz="1600" dirty="0">
              <a:solidFill>
                <a:srgbClr val="FF0000"/>
              </a:solidFill>
              <a:highlight>
                <a:srgbClr val="FFFF00"/>
              </a:highlight>
              <a:latin typeface="Avenir Next LT Pro" panose="020B0504020202020204" pitchFamily="34" charset="0"/>
            </a:endParaRPr>
          </a:p>
        </p:txBody>
      </p:sp>
      <p:sp>
        <p:nvSpPr>
          <p:cNvPr id="28" name="Rectangle: Rounded Corners 252">
            <a:extLst>
              <a:ext uri="{FF2B5EF4-FFF2-40B4-BE49-F238E27FC236}">
                <a16:creationId xmlns:a16="http://schemas.microsoft.com/office/drawing/2014/main" id="{59447730-6FE7-EC4E-D82B-4CDD47E25598}"/>
              </a:ext>
            </a:extLst>
          </p:cNvPr>
          <p:cNvSpPr/>
          <p:nvPr>
            <p:custDataLst>
              <p:tags r:id="rId16"/>
            </p:custDataLst>
          </p:nvPr>
        </p:nvSpPr>
        <p:spPr>
          <a:xfrm>
            <a:off x="6809832" y="2565022"/>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ew number of floors</a:t>
            </a:r>
          </a:p>
        </p:txBody>
      </p:sp>
      <p:sp>
        <p:nvSpPr>
          <p:cNvPr id="29" name="TextBox 156">
            <a:extLst>
              <a:ext uri="{FF2B5EF4-FFF2-40B4-BE49-F238E27FC236}">
                <a16:creationId xmlns:a16="http://schemas.microsoft.com/office/drawing/2014/main" id="{553F35BF-1795-942C-7210-1F70701F738A}"/>
              </a:ext>
            </a:extLst>
          </p:cNvPr>
          <p:cNvSpPr txBox="1"/>
          <p:nvPr>
            <p:custDataLst>
              <p:tags r:id="rId17"/>
            </p:custDataLst>
          </p:nvPr>
        </p:nvSpPr>
        <p:spPr>
          <a:xfrm>
            <a:off x="6927445" y="3216132"/>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Unassigned seating</a:t>
            </a:r>
            <a:endParaRPr lang="en-CA" sz="1600" b="1" i="1" dirty="0">
              <a:latin typeface="Avenir Next LT Pro" panose="020B0504020202020204" pitchFamily="34" charset="0"/>
            </a:endParaRPr>
          </a:p>
        </p:txBody>
      </p:sp>
      <p:sp>
        <p:nvSpPr>
          <p:cNvPr id="30" name="Rectangle: Rounded Corners 153">
            <a:extLst>
              <a:ext uri="{FF2B5EF4-FFF2-40B4-BE49-F238E27FC236}">
                <a16:creationId xmlns:a16="http://schemas.microsoft.com/office/drawing/2014/main" id="{CF803FF0-F5AD-09EE-E848-7158D9ECA15B}"/>
              </a:ext>
              <a:ext uri="{C183D7F6-B498-43B3-948B-1728B52AA6E4}">
                <adec:decorative xmlns:adec="http://schemas.microsoft.com/office/drawing/2017/decorative" val="1"/>
              </a:ext>
            </a:extLst>
          </p:cNvPr>
          <p:cNvSpPr/>
          <p:nvPr>
            <p:custDataLst>
              <p:tags r:id="rId18"/>
            </p:custDataLst>
          </p:nvPr>
        </p:nvSpPr>
        <p:spPr>
          <a:xfrm>
            <a:off x="6826601" y="3152759"/>
            <a:ext cx="4011117" cy="1615853"/>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pic>
        <p:nvPicPr>
          <p:cNvPr id="31" name="Picture 191">
            <a:extLst>
              <a:ext uri="{FF2B5EF4-FFF2-40B4-BE49-F238E27FC236}">
                <a16:creationId xmlns:a16="http://schemas.microsoft.com/office/drawing/2014/main" id="{584F3591-1389-AFE2-9988-630538612733}"/>
              </a:ext>
              <a:ext uri="{C183D7F6-B498-43B3-948B-1728B52AA6E4}">
                <adec:decorative xmlns:adec="http://schemas.microsoft.com/office/drawing/2017/decorative" val="1"/>
              </a:ext>
            </a:extLst>
          </p:cNvPr>
          <p:cNvPicPr>
            <a:picLocks noChangeAspect="1"/>
          </p:cNvPicPr>
          <p:nvPr>
            <p:custDataLst>
              <p:tags r:id="rId19"/>
            </p:custDataLst>
          </p:nvPr>
        </p:nvPicPr>
        <p:blipFill>
          <a:blip r:embed="rId28" cstate="screen">
            <a:extLst>
              <a:ext uri="{28A0092B-C50C-407E-A947-70E740481C1C}">
                <a14:useLocalDpi xmlns:a14="http://schemas.microsoft.com/office/drawing/2010/main" val="0"/>
              </a:ext>
            </a:extLst>
          </a:blip>
          <a:stretch>
            <a:fillRect/>
          </a:stretch>
        </p:blipFill>
        <p:spPr>
          <a:xfrm>
            <a:off x="9142790" y="3596115"/>
            <a:ext cx="1174806" cy="880081"/>
          </a:xfrm>
          <a:prstGeom prst="rect">
            <a:avLst/>
          </a:prstGeom>
        </p:spPr>
      </p:pic>
      <p:pic>
        <p:nvPicPr>
          <p:cNvPr id="32" name="Picture 192">
            <a:extLst>
              <a:ext uri="{FF2B5EF4-FFF2-40B4-BE49-F238E27FC236}">
                <a16:creationId xmlns:a16="http://schemas.microsoft.com/office/drawing/2014/main" id="{FDF20F69-3197-FD5C-05EB-9E1AC0557767}"/>
              </a:ext>
              <a:ext uri="{C183D7F6-B498-43B3-948B-1728B52AA6E4}">
                <adec:decorative xmlns:adec="http://schemas.microsoft.com/office/drawing/2017/decorative" val="1"/>
              </a:ext>
            </a:extLst>
          </p:cNvPr>
          <p:cNvPicPr>
            <a:picLocks noChangeAspect="1"/>
          </p:cNvPicPr>
          <p:nvPr>
            <p:custDataLst>
              <p:tags r:id="rId20"/>
            </p:custDataLst>
          </p:nvPr>
        </p:nvPicPr>
        <p:blipFill>
          <a:blip r:embed="rId29" cstate="screen">
            <a:extLst>
              <a:ext uri="{28A0092B-C50C-407E-A947-70E740481C1C}">
                <a14:useLocalDpi xmlns:a14="http://schemas.microsoft.com/office/drawing/2010/main" val="0"/>
              </a:ext>
            </a:extLst>
          </a:blip>
          <a:stretch>
            <a:fillRect/>
          </a:stretch>
        </p:blipFill>
        <p:spPr>
          <a:xfrm>
            <a:off x="6934383" y="3638059"/>
            <a:ext cx="781969" cy="848938"/>
          </a:xfrm>
          <a:prstGeom prst="rect">
            <a:avLst/>
          </a:prstGeom>
        </p:spPr>
      </p:pic>
      <p:grpSp>
        <p:nvGrpSpPr>
          <p:cNvPr id="33" name="Group 194">
            <a:extLst>
              <a:ext uri="{FF2B5EF4-FFF2-40B4-BE49-F238E27FC236}">
                <a16:creationId xmlns:a16="http://schemas.microsoft.com/office/drawing/2014/main" id="{769F25D5-0ACE-A2D5-150F-32E72CA3FC17}"/>
              </a:ext>
              <a:ext uri="{C183D7F6-B498-43B3-948B-1728B52AA6E4}">
                <adec:decorative xmlns:adec="http://schemas.microsoft.com/office/drawing/2017/decorative" val="1"/>
              </a:ext>
            </a:extLst>
          </p:cNvPr>
          <p:cNvGrpSpPr/>
          <p:nvPr>
            <p:custDataLst>
              <p:tags r:id="rId21"/>
            </p:custDataLst>
          </p:nvPr>
        </p:nvGrpSpPr>
        <p:grpSpPr>
          <a:xfrm>
            <a:off x="7815558" y="3661775"/>
            <a:ext cx="1327232" cy="816533"/>
            <a:chOff x="6312030" y="4120319"/>
            <a:chExt cx="3331283" cy="2089752"/>
          </a:xfrm>
        </p:grpSpPr>
        <p:pic>
          <p:nvPicPr>
            <p:cNvPr id="34" name="Picture 157">
              <a:extLst>
                <a:ext uri="{FF2B5EF4-FFF2-40B4-BE49-F238E27FC236}">
                  <a16:creationId xmlns:a16="http://schemas.microsoft.com/office/drawing/2014/main" id="{2FB48BB1-72DE-06A6-56B2-FC23EFB14F8B}"/>
                </a:ext>
              </a:extLst>
            </p:cNvPr>
            <p:cNvPicPr>
              <a:picLocks noChangeAspect="1"/>
            </p:cNvPicPr>
            <p:nvPr/>
          </p:nvPicPr>
          <p:blipFill>
            <a:blip r:embed="rId30"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35" name="Picture 158">
              <a:extLst>
                <a:ext uri="{FF2B5EF4-FFF2-40B4-BE49-F238E27FC236}">
                  <a16:creationId xmlns:a16="http://schemas.microsoft.com/office/drawing/2014/main" id="{BBD661EF-B16E-1F8E-F7B2-08A14C470C0E}"/>
                </a:ext>
              </a:extLst>
            </p:cNvPr>
            <p:cNvPicPr>
              <a:picLocks noChangeAspect="1"/>
            </p:cNvPicPr>
            <p:nvPr/>
          </p:nvPicPr>
          <p:blipFill>
            <a:blip r:embed="rId31"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36" name="Picture 193">
              <a:extLst>
                <a:ext uri="{FF2B5EF4-FFF2-40B4-BE49-F238E27FC236}">
                  <a16:creationId xmlns:a16="http://schemas.microsoft.com/office/drawing/2014/main" id="{ED75FF99-3DF7-84E0-7B5B-4EFCB272051C}"/>
                </a:ext>
              </a:extLst>
            </p:cNvPr>
            <p:cNvPicPr>
              <a:picLocks noChangeAspect="1"/>
            </p:cNvPicPr>
            <p:nvPr/>
          </p:nvPicPr>
          <p:blipFill>
            <a:blip r:embed="rId32"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7" name="Rectangle: Rounded Corners 252">
            <a:extLst>
              <a:ext uri="{FF2B5EF4-FFF2-40B4-BE49-F238E27FC236}">
                <a16:creationId xmlns:a16="http://schemas.microsoft.com/office/drawing/2014/main" id="{04E6FCF7-DB94-8921-A44C-934B7E940C36}"/>
              </a:ext>
            </a:extLst>
          </p:cNvPr>
          <p:cNvSpPr/>
          <p:nvPr>
            <p:custDataLst>
              <p:tags r:id="rId22"/>
            </p:custDataLst>
          </p:nvPr>
        </p:nvSpPr>
        <p:spPr>
          <a:xfrm>
            <a:off x="6794648" y="4903131"/>
            <a:ext cx="4043070" cy="52861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ways of using space</a:t>
            </a:r>
          </a:p>
        </p:txBody>
      </p:sp>
    </p:spTree>
    <p:extLst>
      <p:ext uri="{BB962C8B-B14F-4D97-AF65-F5344CB8AC3E}">
        <p14:creationId xmlns:p14="http://schemas.microsoft.com/office/powerpoint/2010/main" val="951449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custDataLst>
              <p:tags r:id="rId1"/>
            </p:custDataLst>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custDataLst>
              <p:tags r:id="rId2"/>
            </p:custDataLst>
          </p:nvPr>
        </p:nvSpPr>
        <p:spPr>
          <a:xfrm>
            <a:off x="206501" y="36753"/>
            <a:ext cx="11323029"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CA" dirty="0">
                <a:solidFill>
                  <a:schemeClr val="bg1"/>
                </a:solidFill>
                <a:ea typeface="+mn-ea"/>
              </a:rPr>
              <a:t>Beyond a </a:t>
            </a:r>
            <a:r>
              <a:rPr lang="en-CA">
                <a:solidFill>
                  <a:schemeClr val="bg1"/>
                </a:solidFill>
                <a:ea typeface="+mn-ea"/>
              </a:rPr>
              <a:t>workplace optimization</a:t>
            </a:r>
            <a:endParaRPr lang="en-CA" dirty="0">
              <a:solidFill>
                <a:schemeClr val="bg1"/>
              </a:solidFill>
              <a:ea typeface="+mn-ea"/>
            </a:endParaRPr>
          </a:p>
        </p:txBody>
      </p:sp>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8"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pic>
        <p:nvPicPr>
          <p:cNvPr id="3"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9">
            <a:biLevel thresh="25000"/>
            <a:extLst>
              <a:ext uri="{28A0092B-C50C-407E-A947-70E740481C1C}">
                <a14:useLocalDpi xmlns:a14="http://schemas.microsoft.com/office/drawing/2010/main" val="0"/>
              </a:ext>
            </a:extLst>
          </a:blip>
          <a:srcRect/>
          <a:stretch/>
        </p:blipFill>
        <p:spPr>
          <a:xfrm>
            <a:off x="11529530" y="54509"/>
            <a:ext cx="531869" cy="580758"/>
          </a:xfrm>
          <a:prstGeom prst="rect">
            <a:avLst/>
          </a:prstGeom>
        </p:spPr>
      </p:pic>
      <p:graphicFrame>
        <p:nvGraphicFramePr>
          <p:cNvPr id="5" name="Diagramme 4" descr="offer a space better suited to tasks, promote accessibility and inclusion">
            <a:extLst>
              <a:ext uri="{FF2B5EF4-FFF2-40B4-BE49-F238E27FC236}">
                <a16:creationId xmlns:a16="http://schemas.microsoft.com/office/drawing/2014/main" id="{47AF23CB-9CF8-3A93-AC5C-6849E2091E92}"/>
              </a:ext>
            </a:extLst>
          </p:cNvPr>
          <p:cNvGraphicFramePr/>
          <p:nvPr>
            <p:custDataLst>
              <p:tags r:id="rId5"/>
            </p:custDataLst>
            <p:extLst>
              <p:ext uri="{D42A27DB-BD31-4B8C-83A1-F6EECF244321}">
                <p14:modId xmlns:p14="http://schemas.microsoft.com/office/powerpoint/2010/main" val="3692014740"/>
              </p:ext>
            </p:extLst>
          </p:nvPr>
        </p:nvGraphicFramePr>
        <p:xfrm>
          <a:off x="497902" y="1138059"/>
          <a:ext cx="10445715" cy="424767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782836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he </a:t>
            </a:r>
            <a:r>
              <a:rPr kumimoji="0" lang="fr-CA" sz="32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workplace</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fr-CA" sz="32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experience</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 </a:t>
            </a:r>
            <a:r>
              <a:rPr kumimoji="0" lang="fr-CA" sz="32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our</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vision</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581229" y="1201526"/>
            <a:ext cx="10362388" cy="369332"/>
          </a:xfrm>
          <a:prstGeom prst="rect">
            <a:avLst/>
          </a:prstGeom>
          <a:noFill/>
        </p:spPr>
        <p:txBody>
          <a:bodyPr wrap="square">
            <a:spAutoFit/>
          </a:bodyPr>
          <a:lstStyle/>
          <a:p>
            <a:r>
              <a:rPr lang="fr-CA" i="1" dirty="0"/>
              <a:t>Insert your organization's vision of workplace experience, if applicable.</a:t>
            </a:r>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Tree>
    <p:extLst>
      <p:ext uri="{BB962C8B-B14F-4D97-AF65-F5344CB8AC3E}">
        <p14:creationId xmlns:p14="http://schemas.microsoft.com/office/powerpoint/2010/main" val="1455389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7D0AA24E-8F9C-5384-47ED-0C5CBF0D2122}"/>
              </a:ext>
            </a:extLst>
          </p:cNvPr>
          <p:cNvSpPr>
            <a:spLocks noGrp="1"/>
          </p:cNvSpPr>
          <p:nvPr>
            <p:ph type="title" idx="4294967295"/>
            <p:custDataLst>
              <p:tags r:id="rId1"/>
            </p:custDataLst>
          </p:nvPr>
        </p:nvSpPr>
        <p:spPr>
          <a:xfrm>
            <a:off x="528638" y="2085279"/>
            <a:ext cx="11115674" cy="171216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fr-CA" sz="66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New </a:t>
            </a:r>
            <a:r>
              <a:rPr kumimoji="0" lang="fr-CA" sz="66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ways</a:t>
            </a:r>
            <a:r>
              <a:rPr kumimoji="0" lang="fr-CA" sz="66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of </a:t>
            </a:r>
            <a:r>
              <a:rPr kumimoji="0" lang="fr-CA" sz="66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using</a:t>
            </a:r>
            <a:r>
              <a:rPr kumimoji="0" lang="fr-CA" sz="66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fr-CA" sz="66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space</a:t>
            </a:r>
            <a:endParaRPr kumimoji="0" lang="fr-CA" sz="66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75145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custDataLst>
              <p:tags r:id="rId1"/>
            </p:custDataLst>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08455"/>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Unassigned seating</a:t>
            </a:r>
          </a:p>
        </p:txBody>
      </p:sp>
      <p:sp>
        <p:nvSpPr>
          <p:cNvPr id="5" name="TextBox 4">
            <a:extLst>
              <a:ext uri="{FF2B5EF4-FFF2-40B4-BE49-F238E27FC236}">
                <a16:creationId xmlns:a16="http://schemas.microsoft.com/office/drawing/2014/main" id="{D0DACE9A-1229-9EEE-A180-51B071D4E977}"/>
              </a:ext>
            </a:extLst>
          </p:cNvPr>
          <p:cNvSpPr txBox="1"/>
          <p:nvPr>
            <p:custDataLst>
              <p:tags r:id="rId3"/>
            </p:custDataLst>
          </p:nvPr>
        </p:nvSpPr>
        <p:spPr>
          <a:xfrm>
            <a:off x="581228" y="1201526"/>
            <a:ext cx="7738683" cy="4801314"/>
          </a:xfrm>
          <a:prstGeom prst="rect">
            <a:avLst/>
          </a:prstGeom>
          <a:noFill/>
        </p:spPr>
        <p:txBody>
          <a:bodyPr wrap="square">
            <a:spAutoFit/>
          </a:bodyPr>
          <a:lstStyle/>
          <a:p>
            <a:r>
              <a:rPr lang="en-CA" sz="1800" b="1" dirty="0">
                <a:latin typeface="Avenir Next LT Pro" panose="020B0504020202020204" pitchFamily="34" charset="0"/>
              </a:rPr>
              <a:t>This means that: </a:t>
            </a:r>
          </a:p>
          <a:p>
            <a:endParaRPr lang="en-CA" dirty="0">
              <a:latin typeface="Avenir Next LT Pro" panose="020B0504020202020204" pitchFamily="34" charset="0"/>
            </a:endParaRPr>
          </a:p>
          <a:p>
            <a:pPr marL="285750" indent="-285750">
              <a:buFont typeface="Arial" panose="020B0604020202020204" pitchFamily="34" charset="0"/>
              <a:buChar char="•"/>
            </a:pPr>
            <a:r>
              <a:rPr lang="en-CA" sz="1800" dirty="0">
                <a:latin typeface="Avenir Next LT Pro" panose="020B0504020202020204" pitchFamily="34" charset="0"/>
              </a:rPr>
              <a:t>Workstations and closed offices will be shared and available to all.</a:t>
            </a:r>
          </a:p>
          <a:p>
            <a:endParaRPr lang="en-CA" sz="1800"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Every day, you can choose a workstation in the office that suits your needs and preferences.</a:t>
            </a:r>
          </a:p>
          <a:p>
            <a:endParaRPr lang="en-CA" dirty="0">
              <a:latin typeface="Avenir Next LT Pro" panose="020B0504020202020204" pitchFamily="34" charset="0"/>
            </a:endParaRPr>
          </a:p>
          <a:p>
            <a:r>
              <a:rPr lang="en-CA" b="1" dirty="0">
                <a:latin typeface="Avenir Next LT Pro" panose="020B0504020202020204" pitchFamily="34" charset="0"/>
              </a:rPr>
              <a:t>This also means that:</a:t>
            </a:r>
          </a:p>
          <a:p>
            <a:endParaRPr lang="en-CA"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You need to reserve your workpoint using an application (to manage floor capacity).</a:t>
            </a:r>
          </a:p>
          <a:p>
            <a:pPr marL="285750" indent="-285750">
              <a:buFont typeface="Arial" panose="020B0604020202020204" pitchFamily="34" charset="0"/>
              <a:buChar char="•"/>
            </a:pPr>
            <a:endParaRPr lang="en-CA" dirty="0">
              <a:latin typeface="Avenir Next LT Pro" panose="020B0504020202020204" pitchFamily="34" charset="0"/>
            </a:endParaRPr>
          </a:p>
          <a:p>
            <a:pPr marL="285750" indent="-285750">
              <a:buFont typeface="Arial" panose="020B0604020202020204" pitchFamily="34" charset="0"/>
              <a:buChar char="•"/>
            </a:pPr>
            <a:r>
              <a:rPr lang="en-CA" dirty="0">
                <a:latin typeface="Avenir Next LT Pro" panose="020B0504020202020204" pitchFamily="34" charset="0"/>
              </a:rPr>
              <a:t>You must use a locker to store your business and personal belongings.</a:t>
            </a:r>
          </a:p>
          <a:p>
            <a:endParaRPr lang="en-CA" dirty="0">
              <a:latin typeface="Avenir Next LT Pro" panose="020B0504020202020204" pitchFamily="34" charset="0"/>
            </a:endParaRPr>
          </a:p>
          <a:p>
            <a:endParaRPr lang="en-CA" dirty="0">
              <a:latin typeface="Avenir Next LT Pro" panose="020B0504020202020204" pitchFamily="34" charset="0"/>
            </a:endParaRPr>
          </a:p>
          <a:p>
            <a:endParaRPr lang="en-CA" dirty="0"/>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6" name="ZoneTexte 5">
            <a:extLst>
              <a:ext uri="{FF2B5EF4-FFF2-40B4-BE49-F238E27FC236}">
                <a16:creationId xmlns:a16="http://schemas.microsoft.com/office/drawing/2014/main" id="{55B9010B-A8A7-9B6F-B5B4-3FFDE75A9E2A}"/>
              </a:ext>
            </a:extLst>
          </p:cNvPr>
          <p:cNvSpPr txBox="1"/>
          <p:nvPr>
            <p:custDataLst>
              <p:tags r:id="rId5"/>
            </p:custDataLst>
          </p:nvPr>
        </p:nvSpPr>
        <p:spPr>
          <a:xfrm>
            <a:off x="8590844" y="1591733"/>
            <a:ext cx="3019928" cy="3139321"/>
          </a:xfrm>
          <a:prstGeom prst="rect">
            <a:avLst/>
          </a:prstGeom>
          <a:noFill/>
          <a:ln>
            <a:solidFill>
              <a:schemeClr val="tx1"/>
            </a:solidFill>
          </a:ln>
        </p:spPr>
        <p:txBody>
          <a:bodyPr wrap="square" rtlCol="0">
            <a:spAutoFit/>
          </a:bodyPr>
          <a:lstStyle/>
          <a:p>
            <a:r>
              <a:rPr lang="en-CA" dirty="0"/>
              <a:t>Image?</a:t>
            </a:r>
          </a:p>
          <a:p>
            <a:endParaRPr lang="en-CA" dirty="0"/>
          </a:p>
          <a:p>
            <a:endParaRPr lang="en-CA" dirty="0"/>
          </a:p>
          <a:p>
            <a:endParaRPr lang="en-CA" dirty="0"/>
          </a:p>
          <a:p>
            <a:endParaRPr lang="en-CA" dirty="0"/>
          </a:p>
          <a:p>
            <a:endParaRPr lang="en-CA" dirty="0"/>
          </a:p>
          <a:p>
            <a:endParaRPr lang="en-CA" dirty="0"/>
          </a:p>
          <a:p>
            <a:endParaRPr lang="en-CA" dirty="0"/>
          </a:p>
          <a:p>
            <a:endParaRPr lang="en-CA" dirty="0"/>
          </a:p>
          <a:p>
            <a:endParaRPr lang="en-CA" dirty="0"/>
          </a:p>
          <a:p>
            <a:endParaRPr lang="en-CA" dirty="0"/>
          </a:p>
        </p:txBody>
      </p:sp>
    </p:spTree>
    <p:extLst>
      <p:ext uri="{BB962C8B-B14F-4D97-AF65-F5344CB8AC3E}">
        <p14:creationId xmlns:p14="http://schemas.microsoft.com/office/powerpoint/2010/main" val="2509489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00.xml><?xml version="1.0" encoding="utf-8"?>
<p:tagLst xmlns:a="http://schemas.openxmlformats.org/drawingml/2006/main" xmlns:r="http://schemas.openxmlformats.org/officeDocument/2006/relationships" xmlns:p="http://schemas.openxmlformats.org/presentationml/2006/main">
  <p:tag name="NUM" val="10"/>
</p:tagLst>
</file>

<file path=ppt/tags/tag101.xml><?xml version="1.0" encoding="utf-8"?>
<p:tagLst xmlns:a="http://schemas.openxmlformats.org/drawingml/2006/main" xmlns:r="http://schemas.openxmlformats.org/officeDocument/2006/relationships" xmlns:p="http://schemas.openxmlformats.org/presentationml/2006/main">
  <p:tag name="NUM" val="11"/>
</p:tagLst>
</file>

<file path=ppt/tags/tag102.xml><?xml version="1.0" encoding="utf-8"?>
<p:tagLst xmlns:a="http://schemas.openxmlformats.org/drawingml/2006/main" xmlns:r="http://schemas.openxmlformats.org/officeDocument/2006/relationships" xmlns:p="http://schemas.openxmlformats.org/presentationml/2006/main">
  <p:tag name="NUM" val="12"/>
</p:tagLst>
</file>

<file path=ppt/tags/tag103.xml><?xml version="1.0" encoding="utf-8"?>
<p:tagLst xmlns:a="http://schemas.openxmlformats.org/drawingml/2006/main" xmlns:r="http://schemas.openxmlformats.org/officeDocument/2006/relationships" xmlns:p="http://schemas.openxmlformats.org/presentationml/2006/main">
  <p:tag name="NUM" val="14"/>
</p:tagLst>
</file>

<file path=ppt/tags/tag104.xml><?xml version="1.0" encoding="utf-8"?>
<p:tagLst xmlns:a="http://schemas.openxmlformats.org/drawingml/2006/main" xmlns:r="http://schemas.openxmlformats.org/officeDocument/2006/relationships" xmlns:p="http://schemas.openxmlformats.org/presentationml/2006/main">
  <p:tag name="NUM" val="15"/>
</p:tagLst>
</file>

<file path=ppt/tags/tag105.xml><?xml version="1.0" encoding="utf-8"?>
<p:tagLst xmlns:a="http://schemas.openxmlformats.org/drawingml/2006/main" xmlns:r="http://schemas.openxmlformats.org/officeDocument/2006/relationships" xmlns:p="http://schemas.openxmlformats.org/presentationml/2006/main">
  <p:tag name="NUM" val="16"/>
</p:tagLst>
</file>

<file path=ppt/tags/tag106.xml><?xml version="1.0" encoding="utf-8"?>
<p:tagLst xmlns:a="http://schemas.openxmlformats.org/drawingml/2006/main" xmlns:r="http://schemas.openxmlformats.org/officeDocument/2006/relationships" xmlns:p="http://schemas.openxmlformats.org/presentationml/2006/main">
  <p:tag name="NUM" val="17"/>
</p:tagLst>
</file>

<file path=ppt/tags/tag107.xml><?xml version="1.0" encoding="utf-8"?>
<p:tagLst xmlns:a="http://schemas.openxmlformats.org/drawingml/2006/main" xmlns:r="http://schemas.openxmlformats.org/officeDocument/2006/relationships" xmlns:p="http://schemas.openxmlformats.org/presentationml/2006/main">
  <p:tag name="NUM" val="18"/>
</p:tagLst>
</file>

<file path=ppt/tags/tag108.xml><?xml version="1.0" encoding="utf-8"?>
<p:tagLst xmlns:a="http://schemas.openxmlformats.org/drawingml/2006/main" xmlns:r="http://schemas.openxmlformats.org/officeDocument/2006/relationships" xmlns:p="http://schemas.openxmlformats.org/presentationml/2006/main">
  <p:tag name="NUM" val="19"/>
</p:tagLst>
</file>

<file path=ppt/tags/tag109.xml><?xml version="1.0" encoding="utf-8"?>
<p:tagLst xmlns:a="http://schemas.openxmlformats.org/drawingml/2006/main" xmlns:r="http://schemas.openxmlformats.org/officeDocument/2006/relationships" xmlns:p="http://schemas.openxmlformats.org/presentationml/2006/main">
  <p:tag name="NUM" val="20"/>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10.xml><?xml version="1.0" encoding="utf-8"?>
<p:tagLst xmlns:a="http://schemas.openxmlformats.org/drawingml/2006/main" xmlns:r="http://schemas.openxmlformats.org/officeDocument/2006/relationships" xmlns:p="http://schemas.openxmlformats.org/presentationml/2006/main">
  <p:tag name="NUM" val="21"/>
</p:tagLst>
</file>

<file path=ppt/tags/tag111.xml><?xml version="1.0" encoding="utf-8"?>
<p:tagLst xmlns:a="http://schemas.openxmlformats.org/drawingml/2006/main" xmlns:r="http://schemas.openxmlformats.org/officeDocument/2006/relationships" xmlns:p="http://schemas.openxmlformats.org/presentationml/2006/main">
  <p:tag name="NUM" val="22"/>
</p:tagLst>
</file>

<file path=ppt/tags/tag112.xml><?xml version="1.0" encoding="utf-8"?>
<p:tagLst xmlns:a="http://schemas.openxmlformats.org/drawingml/2006/main" xmlns:r="http://schemas.openxmlformats.org/officeDocument/2006/relationships" xmlns:p="http://schemas.openxmlformats.org/presentationml/2006/main">
  <p:tag name="NUM" val="23"/>
</p:tagLst>
</file>

<file path=ppt/tags/tag113.xml><?xml version="1.0" encoding="utf-8"?>
<p:tagLst xmlns:a="http://schemas.openxmlformats.org/drawingml/2006/main" xmlns:r="http://schemas.openxmlformats.org/officeDocument/2006/relationships" xmlns:p="http://schemas.openxmlformats.org/presentationml/2006/main">
  <p:tag name="NUM" val="24"/>
</p:tagLst>
</file>

<file path=ppt/tags/tag114.xml><?xml version="1.0" encoding="utf-8"?>
<p:tagLst xmlns:a="http://schemas.openxmlformats.org/drawingml/2006/main" xmlns:r="http://schemas.openxmlformats.org/officeDocument/2006/relationships" xmlns:p="http://schemas.openxmlformats.org/presentationml/2006/main">
  <p:tag name="NUM" val="25"/>
</p:tagLst>
</file>

<file path=ppt/tags/tag115.xml><?xml version="1.0" encoding="utf-8"?>
<p:tagLst xmlns:a="http://schemas.openxmlformats.org/drawingml/2006/main" xmlns:r="http://schemas.openxmlformats.org/officeDocument/2006/relationships" xmlns:p="http://schemas.openxmlformats.org/presentationml/2006/main">
  <p:tag name="NUM" val="26"/>
</p:tagLst>
</file>

<file path=ppt/tags/tag116.xml><?xml version="1.0" encoding="utf-8"?>
<p:tagLst xmlns:a="http://schemas.openxmlformats.org/drawingml/2006/main" xmlns:r="http://schemas.openxmlformats.org/officeDocument/2006/relationships" xmlns:p="http://schemas.openxmlformats.org/presentationml/2006/main">
  <p:tag name="NUM" val="27"/>
</p:tagLst>
</file>

<file path=ppt/tags/tag117.xml><?xml version="1.0" encoding="utf-8"?>
<p:tagLst xmlns:a="http://schemas.openxmlformats.org/drawingml/2006/main" xmlns:r="http://schemas.openxmlformats.org/officeDocument/2006/relationships" xmlns:p="http://schemas.openxmlformats.org/presentationml/2006/main">
  <p:tag name="NUM" val="28"/>
</p:tagLst>
</file>

<file path=ppt/tags/tag118.xml><?xml version="1.0" encoding="utf-8"?>
<p:tagLst xmlns:a="http://schemas.openxmlformats.org/drawingml/2006/main" xmlns:r="http://schemas.openxmlformats.org/officeDocument/2006/relationships" xmlns:p="http://schemas.openxmlformats.org/presentationml/2006/main">
  <p:tag name="NUM" val="29"/>
</p:tagLst>
</file>

<file path=ppt/tags/tag119.xml><?xml version="1.0" encoding="utf-8"?>
<p:tagLst xmlns:a="http://schemas.openxmlformats.org/drawingml/2006/main" xmlns:r="http://schemas.openxmlformats.org/officeDocument/2006/relationships" xmlns:p="http://schemas.openxmlformats.org/presentationml/2006/main">
  <p:tag name="NUM" val="30"/>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20.xml><?xml version="1.0" encoding="utf-8"?>
<p:tagLst xmlns:a="http://schemas.openxmlformats.org/drawingml/2006/main" xmlns:r="http://schemas.openxmlformats.org/officeDocument/2006/relationships" xmlns:p="http://schemas.openxmlformats.org/presentationml/2006/main">
  <p:tag name="NUM" val="31"/>
</p:tagLst>
</file>

<file path=ppt/tags/tag121.xml><?xml version="1.0" encoding="utf-8"?>
<p:tagLst xmlns:a="http://schemas.openxmlformats.org/drawingml/2006/main" xmlns:r="http://schemas.openxmlformats.org/officeDocument/2006/relationships" xmlns:p="http://schemas.openxmlformats.org/presentationml/2006/main">
  <p:tag name="NUM" val="32"/>
</p:tagLst>
</file>

<file path=ppt/tags/tag122.xml><?xml version="1.0" encoding="utf-8"?>
<p:tagLst xmlns:a="http://schemas.openxmlformats.org/drawingml/2006/main" xmlns:r="http://schemas.openxmlformats.org/officeDocument/2006/relationships" xmlns:p="http://schemas.openxmlformats.org/presentationml/2006/main">
  <p:tag name="NUM" val="33"/>
</p:tagLst>
</file>

<file path=ppt/tags/tag123.xml><?xml version="1.0" encoding="utf-8"?>
<p:tagLst xmlns:a="http://schemas.openxmlformats.org/drawingml/2006/main" xmlns:r="http://schemas.openxmlformats.org/officeDocument/2006/relationships" xmlns:p="http://schemas.openxmlformats.org/presentationml/2006/main">
  <p:tag name="NUM" val="34"/>
</p:tagLst>
</file>

<file path=ppt/tags/tag124.xml><?xml version="1.0" encoding="utf-8"?>
<p:tagLst xmlns:a="http://schemas.openxmlformats.org/drawingml/2006/main" xmlns:r="http://schemas.openxmlformats.org/officeDocument/2006/relationships" xmlns:p="http://schemas.openxmlformats.org/presentationml/2006/main">
  <p:tag name="NUM" val="35"/>
</p:tagLst>
</file>

<file path=ppt/tags/tag125.xml><?xml version="1.0" encoding="utf-8"?>
<p:tagLst xmlns:a="http://schemas.openxmlformats.org/drawingml/2006/main" xmlns:r="http://schemas.openxmlformats.org/officeDocument/2006/relationships" xmlns:p="http://schemas.openxmlformats.org/presentationml/2006/main">
  <p:tag name="NUM" val="36"/>
</p:tagLst>
</file>

<file path=ppt/tags/tag126.xml><?xml version="1.0" encoding="utf-8"?>
<p:tagLst xmlns:a="http://schemas.openxmlformats.org/drawingml/2006/main" xmlns:r="http://schemas.openxmlformats.org/officeDocument/2006/relationships" xmlns:p="http://schemas.openxmlformats.org/presentationml/2006/main">
  <p:tag name="NUM" val="37"/>
</p:tagLst>
</file>

<file path=ppt/tags/tag127.xml><?xml version="1.0" encoding="utf-8"?>
<p:tagLst xmlns:a="http://schemas.openxmlformats.org/drawingml/2006/main" xmlns:r="http://schemas.openxmlformats.org/officeDocument/2006/relationships" xmlns:p="http://schemas.openxmlformats.org/presentationml/2006/main">
  <p:tag name="NUM" val="38"/>
</p:tagLst>
</file>

<file path=ppt/tags/tag128.xml><?xml version="1.0" encoding="utf-8"?>
<p:tagLst xmlns:a="http://schemas.openxmlformats.org/drawingml/2006/main" xmlns:r="http://schemas.openxmlformats.org/officeDocument/2006/relationships" xmlns:p="http://schemas.openxmlformats.org/presentationml/2006/main">
  <p:tag name="NUM" val="39"/>
</p:tagLst>
</file>

<file path=ppt/tags/tag129.xml><?xml version="1.0" encoding="utf-8"?>
<p:tagLst xmlns:a="http://schemas.openxmlformats.org/drawingml/2006/main" xmlns:r="http://schemas.openxmlformats.org/officeDocument/2006/relationships" xmlns:p="http://schemas.openxmlformats.org/presentationml/2006/main">
  <p:tag name="NUM" val="40"/>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30.xml><?xml version="1.0" encoding="utf-8"?>
<p:tagLst xmlns:a="http://schemas.openxmlformats.org/drawingml/2006/main" xmlns:r="http://schemas.openxmlformats.org/officeDocument/2006/relationships" xmlns:p="http://schemas.openxmlformats.org/presentationml/2006/main">
  <p:tag name="NUM" val="41"/>
</p:tagLst>
</file>

<file path=ppt/tags/tag131.xml><?xml version="1.0" encoding="utf-8"?>
<p:tagLst xmlns:a="http://schemas.openxmlformats.org/drawingml/2006/main" xmlns:r="http://schemas.openxmlformats.org/officeDocument/2006/relationships" xmlns:p="http://schemas.openxmlformats.org/presentationml/2006/main">
  <p:tag name="NUM" val="42"/>
</p:tagLst>
</file>

<file path=ppt/tags/tag132.xml><?xml version="1.0" encoding="utf-8"?>
<p:tagLst xmlns:a="http://schemas.openxmlformats.org/drawingml/2006/main" xmlns:r="http://schemas.openxmlformats.org/officeDocument/2006/relationships" xmlns:p="http://schemas.openxmlformats.org/presentationml/2006/main">
  <p:tag name="NUM" val="43"/>
</p:tagLst>
</file>

<file path=ppt/tags/tag133.xml><?xml version="1.0" encoding="utf-8"?>
<p:tagLst xmlns:a="http://schemas.openxmlformats.org/drawingml/2006/main" xmlns:r="http://schemas.openxmlformats.org/officeDocument/2006/relationships" xmlns:p="http://schemas.openxmlformats.org/presentationml/2006/main">
  <p:tag name="NUM" val="44"/>
</p:tagLst>
</file>

<file path=ppt/tags/tag134.xml><?xml version="1.0" encoding="utf-8"?>
<p:tagLst xmlns:a="http://schemas.openxmlformats.org/drawingml/2006/main" xmlns:r="http://schemas.openxmlformats.org/officeDocument/2006/relationships" xmlns:p="http://schemas.openxmlformats.org/presentationml/2006/main">
  <p:tag name="NUM" val="45"/>
</p:tagLst>
</file>

<file path=ppt/tags/tag135.xml><?xml version="1.0" encoding="utf-8"?>
<p:tagLst xmlns:a="http://schemas.openxmlformats.org/drawingml/2006/main" xmlns:r="http://schemas.openxmlformats.org/officeDocument/2006/relationships" xmlns:p="http://schemas.openxmlformats.org/presentationml/2006/main">
  <p:tag name="NUM" val="46"/>
</p:tagLst>
</file>

<file path=ppt/tags/tag136.xml><?xml version="1.0" encoding="utf-8"?>
<p:tagLst xmlns:a="http://schemas.openxmlformats.org/drawingml/2006/main" xmlns:r="http://schemas.openxmlformats.org/officeDocument/2006/relationships" xmlns:p="http://schemas.openxmlformats.org/presentationml/2006/main">
  <p:tag name="NUM" val="47"/>
</p:tagLst>
</file>

<file path=ppt/tags/tag137.xml><?xml version="1.0" encoding="utf-8"?>
<p:tagLst xmlns:a="http://schemas.openxmlformats.org/drawingml/2006/main" xmlns:r="http://schemas.openxmlformats.org/officeDocument/2006/relationships" xmlns:p="http://schemas.openxmlformats.org/presentationml/2006/main">
  <p:tag name="NUM" val="48"/>
</p:tagLst>
</file>

<file path=ppt/tags/tag138.xml><?xml version="1.0" encoding="utf-8"?>
<p:tagLst xmlns:a="http://schemas.openxmlformats.org/drawingml/2006/main" xmlns:r="http://schemas.openxmlformats.org/officeDocument/2006/relationships" xmlns:p="http://schemas.openxmlformats.org/presentationml/2006/main">
  <p:tag name="NUM" val="49"/>
</p:tagLst>
</file>

<file path=ppt/tags/tag139.xml><?xml version="1.0" encoding="utf-8"?>
<p:tagLst xmlns:a="http://schemas.openxmlformats.org/drawingml/2006/main" xmlns:r="http://schemas.openxmlformats.org/officeDocument/2006/relationships" xmlns:p="http://schemas.openxmlformats.org/presentationml/2006/main">
  <p:tag name="NUM" val="50"/>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40.xml><?xml version="1.0" encoding="utf-8"?>
<p:tagLst xmlns:a="http://schemas.openxmlformats.org/drawingml/2006/main" xmlns:r="http://schemas.openxmlformats.org/officeDocument/2006/relationships" xmlns:p="http://schemas.openxmlformats.org/presentationml/2006/main">
  <p:tag name="NUM" val="51"/>
</p:tagLst>
</file>

<file path=ppt/tags/tag141.xml><?xml version="1.0" encoding="utf-8"?>
<p:tagLst xmlns:a="http://schemas.openxmlformats.org/drawingml/2006/main" xmlns:r="http://schemas.openxmlformats.org/officeDocument/2006/relationships" xmlns:p="http://schemas.openxmlformats.org/presentationml/2006/main">
  <p:tag name="NUM" val="52"/>
</p:tagLst>
</file>

<file path=ppt/tags/tag142.xml><?xml version="1.0" encoding="utf-8"?>
<p:tagLst xmlns:a="http://schemas.openxmlformats.org/drawingml/2006/main" xmlns:r="http://schemas.openxmlformats.org/officeDocument/2006/relationships" xmlns:p="http://schemas.openxmlformats.org/presentationml/2006/main">
  <p:tag name="NUM" val="53"/>
</p:tagLst>
</file>

<file path=ppt/tags/tag143.xml><?xml version="1.0" encoding="utf-8"?>
<p:tagLst xmlns:a="http://schemas.openxmlformats.org/drawingml/2006/main" xmlns:r="http://schemas.openxmlformats.org/officeDocument/2006/relationships" xmlns:p="http://schemas.openxmlformats.org/presentationml/2006/main">
  <p:tag name="NUM" val="54"/>
</p:tagLst>
</file>

<file path=ppt/tags/tag144.xml><?xml version="1.0" encoding="utf-8"?>
<p:tagLst xmlns:a="http://schemas.openxmlformats.org/drawingml/2006/main" xmlns:r="http://schemas.openxmlformats.org/officeDocument/2006/relationships" xmlns:p="http://schemas.openxmlformats.org/presentationml/2006/main">
  <p:tag name="NUM" val="55"/>
</p:tagLst>
</file>

<file path=ppt/tags/tag145.xml><?xml version="1.0" encoding="utf-8"?>
<p:tagLst xmlns:a="http://schemas.openxmlformats.org/drawingml/2006/main" xmlns:r="http://schemas.openxmlformats.org/officeDocument/2006/relationships" xmlns:p="http://schemas.openxmlformats.org/presentationml/2006/main">
  <p:tag name="NUM" val="1"/>
</p:tagLst>
</file>

<file path=ppt/tags/tag146.xml><?xml version="1.0" encoding="utf-8"?>
<p:tagLst xmlns:a="http://schemas.openxmlformats.org/drawingml/2006/main" xmlns:r="http://schemas.openxmlformats.org/officeDocument/2006/relationships" xmlns:p="http://schemas.openxmlformats.org/presentationml/2006/main">
  <p:tag name="NUM" val="3"/>
</p:tagLst>
</file>

<file path=ppt/tags/tag147.xml><?xml version="1.0" encoding="utf-8"?>
<p:tagLst xmlns:a="http://schemas.openxmlformats.org/drawingml/2006/main" xmlns:r="http://schemas.openxmlformats.org/officeDocument/2006/relationships" xmlns:p="http://schemas.openxmlformats.org/presentationml/2006/main">
  <p:tag name="NUM" val="2"/>
</p:tagLst>
</file>

<file path=ppt/tags/tag148.xml><?xml version="1.0" encoding="utf-8"?>
<p:tagLst xmlns:a="http://schemas.openxmlformats.org/drawingml/2006/main" xmlns:r="http://schemas.openxmlformats.org/officeDocument/2006/relationships" xmlns:p="http://schemas.openxmlformats.org/presentationml/2006/main">
  <p:tag name="NUM" val="4"/>
</p:tagLst>
</file>

<file path=ppt/tags/tag149.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50.xml><?xml version="1.0" encoding="utf-8"?>
<p:tagLst xmlns:a="http://schemas.openxmlformats.org/drawingml/2006/main" xmlns:r="http://schemas.openxmlformats.org/officeDocument/2006/relationships" xmlns:p="http://schemas.openxmlformats.org/presentationml/2006/main">
  <p:tag name="NUM" val="2"/>
</p:tagLst>
</file>

<file path=ppt/tags/tag151.xml><?xml version="1.0" encoding="utf-8"?>
<p:tagLst xmlns:a="http://schemas.openxmlformats.org/drawingml/2006/main" xmlns:r="http://schemas.openxmlformats.org/officeDocument/2006/relationships" xmlns:p="http://schemas.openxmlformats.org/presentationml/2006/main">
  <p:tag name="NUM" val="3"/>
</p:tagLst>
</file>

<file path=ppt/tags/tag152.xml><?xml version="1.0" encoding="utf-8"?>
<p:tagLst xmlns:a="http://schemas.openxmlformats.org/drawingml/2006/main" xmlns:r="http://schemas.openxmlformats.org/officeDocument/2006/relationships" xmlns:p="http://schemas.openxmlformats.org/presentationml/2006/main">
  <p:tag name="NUM" val="6"/>
</p:tagLst>
</file>

<file path=ppt/tags/tag153.xml><?xml version="1.0" encoding="utf-8"?>
<p:tagLst xmlns:a="http://schemas.openxmlformats.org/drawingml/2006/main" xmlns:r="http://schemas.openxmlformats.org/officeDocument/2006/relationships" xmlns:p="http://schemas.openxmlformats.org/presentationml/2006/main">
  <p:tag name="NUM" val="7"/>
</p:tagLst>
</file>

<file path=ppt/tags/tag154.xml><?xml version="1.0" encoding="utf-8"?>
<p:tagLst xmlns:a="http://schemas.openxmlformats.org/drawingml/2006/main" xmlns:r="http://schemas.openxmlformats.org/officeDocument/2006/relationships" xmlns:p="http://schemas.openxmlformats.org/presentationml/2006/main">
  <p:tag name="NUM" val="4"/>
</p:tagLst>
</file>

<file path=ppt/tags/tag155.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4"/>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5"/>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7"/>
</p:tagLst>
</file>

<file path=ppt/tags/tag28.xml><?xml version="1.0" encoding="utf-8"?>
<p:tagLst xmlns:a="http://schemas.openxmlformats.org/drawingml/2006/main" xmlns:r="http://schemas.openxmlformats.org/officeDocument/2006/relationships" xmlns:p="http://schemas.openxmlformats.org/presentationml/2006/main">
  <p:tag name="NUM" val="8"/>
</p:tagLst>
</file>

<file path=ppt/tags/tag29.xml><?xml version="1.0" encoding="utf-8"?>
<p:tagLst xmlns:a="http://schemas.openxmlformats.org/drawingml/2006/main" xmlns:r="http://schemas.openxmlformats.org/officeDocument/2006/relationships" xmlns:p="http://schemas.openxmlformats.org/presentationml/2006/main">
  <p:tag name="NUM" val="9"/>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2"/>
</p:tagLst>
</file>

<file path=ppt/tags/tag31.xml><?xml version="1.0" encoding="utf-8"?>
<p:tagLst xmlns:a="http://schemas.openxmlformats.org/drawingml/2006/main" xmlns:r="http://schemas.openxmlformats.org/officeDocument/2006/relationships" xmlns:p="http://schemas.openxmlformats.org/presentationml/2006/main">
  <p:tag name="NUM" val="10"/>
</p:tagLst>
</file>

<file path=ppt/tags/tag32.xml><?xml version="1.0" encoding="utf-8"?>
<p:tagLst xmlns:a="http://schemas.openxmlformats.org/drawingml/2006/main" xmlns:r="http://schemas.openxmlformats.org/officeDocument/2006/relationships" xmlns:p="http://schemas.openxmlformats.org/presentationml/2006/main">
  <p:tag name="NUM" val="11"/>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NUM" val="6"/>
</p:tagLst>
</file>

<file path=ppt/tags/tag39.xml><?xml version="1.0" encoding="utf-8"?>
<p:tagLst xmlns:a="http://schemas.openxmlformats.org/drawingml/2006/main" xmlns:r="http://schemas.openxmlformats.org/officeDocument/2006/relationships" xmlns:p="http://schemas.openxmlformats.org/presentationml/2006/main">
  <p:tag name="NUM"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8"/>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10"/>
</p:tagLst>
</file>

<file path=ppt/tags/tag43.xml><?xml version="1.0" encoding="utf-8"?>
<p:tagLst xmlns:a="http://schemas.openxmlformats.org/drawingml/2006/main" xmlns:r="http://schemas.openxmlformats.org/officeDocument/2006/relationships" xmlns:p="http://schemas.openxmlformats.org/presentationml/2006/main">
  <p:tag name="NUM" val="11"/>
</p:tagLst>
</file>

<file path=ppt/tags/tag44.xml><?xml version="1.0" encoding="utf-8"?>
<p:tagLst xmlns:a="http://schemas.openxmlformats.org/drawingml/2006/main" xmlns:r="http://schemas.openxmlformats.org/officeDocument/2006/relationships" xmlns:p="http://schemas.openxmlformats.org/presentationml/2006/main">
  <p:tag name="NUM" val="12"/>
</p:tagLst>
</file>

<file path=ppt/tags/tag45.xml><?xml version="1.0" encoding="utf-8"?>
<p:tagLst xmlns:a="http://schemas.openxmlformats.org/drawingml/2006/main" xmlns:r="http://schemas.openxmlformats.org/officeDocument/2006/relationships" xmlns:p="http://schemas.openxmlformats.org/presentationml/2006/main">
  <p:tag name="NUM" val="13"/>
</p:tagLst>
</file>

<file path=ppt/tags/tag46.xml><?xml version="1.0" encoding="utf-8"?>
<p:tagLst xmlns:a="http://schemas.openxmlformats.org/drawingml/2006/main" xmlns:r="http://schemas.openxmlformats.org/officeDocument/2006/relationships" xmlns:p="http://schemas.openxmlformats.org/presentationml/2006/main">
  <p:tag name="NUM" val="14"/>
</p:tagLst>
</file>

<file path=ppt/tags/tag47.xml><?xml version="1.0" encoding="utf-8"?>
<p:tagLst xmlns:a="http://schemas.openxmlformats.org/drawingml/2006/main" xmlns:r="http://schemas.openxmlformats.org/officeDocument/2006/relationships" xmlns:p="http://schemas.openxmlformats.org/presentationml/2006/main">
  <p:tag name="NUM" val="15"/>
</p:tagLst>
</file>

<file path=ppt/tags/tag48.xml><?xml version="1.0" encoding="utf-8"?>
<p:tagLst xmlns:a="http://schemas.openxmlformats.org/drawingml/2006/main" xmlns:r="http://schemas.openxmlformats.org/officeDocument/2006/relationships" xmlns:p="http://schemas.openxmlformats.org/presentationml/2006/main">
  <p:tag name="NUM" val="16"/>
</p:tagLst>
</file>

<file path=ppt/tags/tag49.xml><?xml version="1.0" encoding="utf-8"?>
<p:tagLst xmlns:a="http://schemas.openxmlformats.org/drawingml/2006/main" xmlns:r="http://schemas.openxmlformats.org/officeDocument/2006/relationships" xmlns:p="http://schemas.openxmlformats.org/presentationml/2006/main">
  <p:tag name="NUM" val="1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8"/>
</p:tagLst>
</file>

<file path=ppt/tags/tag51.xml><?xml version="1.0" encoding="utf-8"?>
<p:tagLst xmlns:a="http://schemas.openxmlformats.org/drawingml/2006/main" xmlns:r="http://schemas.openxmlformats.org/officeDocument/2006/relationships" xmlns:p="http://schemas.openxmlformats.org/presentationml/2006/main">
  <p:tag name="NUM" val="19"/>
</p:tagLst>
</file>

<file path=ppt/tags/tag52.xml><?xml version="1.0" encoding="utf-8"?>
<p:tagLst xmlns:a="http://schemas.openxmlformats.org/drawingml/2006/main" xmlns:r="http://schemas.openxmlformats.org/officeDocument/2006/relationships" xmlns:p="http://schemas.openxmlformats.org/presentationml/2006/main">
  <p:tag name="NUM" val="20"/>
</p:tagLst>
</file>

<file path=ppt/tags/tag53.xml><?xml version="1.0" encoding="utf-8"?>
<p:tagLst xmlns:a="http://schemas.openxmlformats.org/drawingml/2006/main" xmlns:r="http://schemas.openxmlformats.org/officeDocument/2006/relationships" xmlns:p="http://schemas.openxmlformats.org/presentationml/2006/main">
  <p:tag name="NUM" val="21"/>
</p:tagLst>
</file>

<file path=ppt/tags/tag54.xml><?xml version="1.0" encoding="utf-8"?>
<p:tagLst xmlns:a="http://schemas.openxmlformats.org/drawingml/2006/main" xmlns:r="http://schemas.openxmlformats.org/officeDocument/2006/relationships" xmlns:p="http://schemas.openxmlformats.org/presentationml/2006/main">
  <p:tag name="NUM" val="22"/>
</p:tagLst>
</file>

<file path=ppt/tags/tag55.xml><?xml version="1.0" encoding="utf-8"?>
<p:tagLst xmlns:a="http://schemas.openxmlformats.org/drawingml/2006/main" xmlns:r="http://schemas.openxmlformats.org/officeDocument/2006/relationships" xmlns:p="http://schemas.openxmlformats.org/presentationml/2006/main">
  <p:tag name="NUM" val="1"/>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3"/>
</p:tagLst>
</file>

<file path=ppt/tags/tag58.xml><?xml version="1.0" encoding="utf-8"?>
<p:tagLst xmlns:a="http://schemas.openxmlformats.org/drawingml/2006/main" xmlns:r="http://schemas.openxmlformats.org/officeDocument/2006/relationships" xmlns:p="http://schemas.openxmlformats.org/presentationml/2006/main">
  <p:tag name="NUM" val="4"/>
</p:tagLst>
</file>

<file path=ppt/tags/tag59.xml><?xml version="1.0" encoding="utf-8"?>
<p:tagLst xmlns:a="http://schemas.openxmlformats.org/drawingml/2006/main" xmlns:r="http://schemas.openxmlformats.org/officeDocument/2006/relationships" xmlns:p="http://schemas.openxmlformats.org/presentationml/2006/main">
  <p:tag name="NUM"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1"/>
</p:tagLst>
</file>

<file path=ppt/tags/tag61.xml><?xml version="1.0" encoding="utf-8"?>
<p:tagLst xmlns:a="http://schemas.openxmlformats.org/drawingml/2006/main" xmlns:r="http://schemas.openxmlformats.org/officeDocument/2006/relationships" xmlns:p="http://schemas.openxmlformats.org/presentationml/2006/main">
  <p:tag name="NUM" val="2"/>
</p:tagLst>
</file>

<file path=ppt/tags/tag62.xml><?xml version="1.0" encoding="utf-8"?>
<p:tagLst xmlns:a="http://schemas.openxmlformats.org/drawingml/2006/main" xmlns:r="http://schemas.openxmlformats.org/officeDocument/2006/relationships" xmlns:p="http://schemas.openxmlformats.org/presentationml/2006/main">
  <p:tag name="NUM" val="3"/>
</p:tagLst>
</file>

<file path=ppt/tags/tag63.xml><?xml version="1.0" encoding="utf-8"?>
<p:tagLst xmlns:a="http://schemas.openxmlformats.org/drawingml/2006/main" xmlns:r="http://schemas.openxmlformats.org/officeDocument/2006/relationships" xmlns:p="http://schemas.openxmlformats.org/presentationml/2006/main">
  <p:tag name="NUM" val="4"/>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1"/>
</p:tagLst>
</file>

<file path=ppt/tags/tag66.xml><?xml version="1.0" encoding="utf-8"?>
<p:tagLst xmlns:a="http://schemas.openxmlformats.org/drawingml/2006/main" xmlns:r="http://schemas.openxmlformats.org/officeDocument/2006/relationships" xmlns:p="http://schemas.openxmlformats.org/presentationml/2006/main">
  <p:tag name="NUM" val="2"/>
</p:tagLst>
</file>

<file path=ppt/tags/tag67.xml><?xml version="1.0" encoding="utf-8"?>
<p:tagLst xmlns:a="http://schemas.openxmlformats.org/drawingml/2006/main" xmlns:r="http://schemas.openxmlformats.org/officeDocument/2006/relationships" xmlns:p="http://schemas.openxmlformats.org/presentationml/2006/main">
  <p:tag name="NUM" val="3"/>
</p:tagLst>
</file>

<file path=ppt/tags/tag68.xml><?xml version="1.0" encoding="utf-8"?>
<p:tagLst xmlns:a="http://schemas.openxmlformats.org/drawingml/2006/main" xmlns:r="http://schemas.openxmlformats.org/officeDocument/2006/relationships" xmlns:p="http://schemas.openxmlformats.org/presentationml/2006/main">
  <p:tag name="NUM" val="4"/>
</p:tagLst>
</file>

<file path=ppt/tags/tag69.xml><?xml version="1.0" encoding="utf-8"?>
<p:tagLst xmlns:a="http://schemas.openxmlformats.org/drawingml/2006/main" xmlns:r="http://schemas.openxmlformats.org/officeDocument/2006/relationships" xmlns:p="http://schemas.openxmlformats.org/presentationml/2006/main">
  <p:tag name="NUM"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
</p:tagLst>
</file>

<file path=ppt/tags/tag71.xml><?xml version="1.0" encoding="utf-8"?>
<p:tagLst xmlns:a="http://schemas.openxmlformats.org/drawingml/2006/main" xmlns:r="http://schemas.openxmlformats.org/officeDocument/2006/relationships" xmlns:p="http://schemas.openxmlformats.org/presentationml/2006/main">
  <p:tag name="NUM" val="2"/>
</p:tagLst>
</file>

<file path=ppt/tags/tag72.xml><?xml version="1.0" encoding="utf-8"?>
<p:tagLst xmlns:a="http://schemas.openxmlformats.org/drawingml/2006/main" xmlns:r="http://schemas.openxmlformats.org/officeDocument/2006/relationships" xmlns:p="http://schemas.openxmlformats.org/presentationml/2006/main">
  <p:tag name="NUM" val="3"/>
</p:tagLst>
</file>

<file path=ppt/tags/tag73.xml><?xml version="1.0" encoding="utf-8"?>
<p:tagLst xmlns:a="http://schemas.openxmlformats.org/drawingml/2006/main" xmlns:r="http://schemas.openxmlformats.org/officeDocument/2006/relationships" xmlns:p="http://schemas.openxmlformats.org/presentationml/2006/main">
  <p:tag name="NUM" val="4"/>
</p:tagLst>
</file>

<file path=ppt/tags/tag74.xml><?xml version="1.0" encoding="utf-8"?>
<p:tagLst xmlns:a="http://schemas.openxmlformats.org/drawingml/2006/main" xmlns:r="http://schemas.openxmlformats.org/officeDocument/2006/relationships" xmlns:p="http://schemas.openxmlformats.org/presentationml/2006/main">
  <p:tag name="NUM" val="8"/>
</p:tagLst>
</file>

<file path=ppt/tags/tag75.xml><?xml version="1.0" encoding="utf-8"?>
<p:tagLst xmlns:a="http://schemas.openxmlformats.org/drawingml/2006/main" xmlns:r="http://schemas.openxmlformats.org/officeDocument/2006/relationships" xmlns:p="http://schemas.openxmlformats.org/presentationml/2006/main">
  <p:tag name="NUM" val="5"/>
</p:tagLst>
</file>

<file path=ppt/tags/tag76.xml><?xml version="1.0" encoding="utf-8"?>
<p:tagLst xmlns:a="http://schemas.openxmlformats.org/drawingml/2006/main" xmlns:r="http://schemas.openxmlformats.org/officeDocument/2006/relationships" xmlns:p="http://schemas.openxmlformats.org/presentationml/2006/main">
  <p:tag name="NUM" val="6"/>
</p:tagLst>
</file>

<file path=ppt/tags/tag77.xml><?xml version="1.0" encoding="utf-8"?>
<p:tagLst xmlns:a="http://schemas.openxmlformats.org/drawingml/2006/main" xmlns:r="http://schemas.openxmlformats.org/officeDocument/2006/relationships" xmlns:p="http://schemas.openxmlformats.org/presentationml/2006/main">
  <p:tag name="NUM" val="7"/>
</p:tagLst>
</file>

<file path=ppt/tags/tag78.xml><?xml version="1.0" encoding="utf-8"?>
<p:tagLst xmlns:a="http://schemas.openxmlformats.org/drawingml/2006/main" xmlns:r="http://schemas.openxmlformats.org/officeDocument/2006/relationships" xmlns:p="http://schemas.openxmlformats.org/presentationml/2006/main">
  <p:tag name="NUM" val="1"/>
</p:tagLst>
</file>

<file path=ppt/tags/tag79.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80.xml><?xml version="1.0" encoding="utf-8"?>
<p:tagLst xmlns:a="http://schemas.openxmlformats.org/drawingml/2006/main" xmlns:r="http://schemas.openxmlformats.org/officeDocument/2006/relationships" xmlns:p="http://schemas.openxmlformats.org/presentationml/2006/main">
  <p:tag name="NUM" val="3"/>
</p:tagLst>
</file>

<file path=ppt/tags/tag81.xml><?xml version="1.0" encoding="utf-8"?>
<p:tagLst xmlns:a="http://schemas.openxmlformats.org/drawingml/2006/main" xmlns:r="http://schemas.openxmlformats.org/officeDocument/2006/relationships" xmlns:p="http://schemas.openxmlformats.org/presentationml/2006/main">
  <p:tag name="NUM" val="4"/>
</p:tagLst>
</file>

<file path=ppt/tags/tag82.xml><?xml version="1.0" encoding="utf-8"?>
<p:tagLst xmlns:a="http://schemas.openxmlformats.org/drawingml/2006/main" xmlns:r="http://schemas.openxmlformats.org/officeDocument/2006/relationships" xmlns:p="http://schemas.openxmlformats.org/presentationml/2006/main">
  <p:tag name="NUM" val="5"/>
</p:tagLst>
</file>

<file path=ppt/tags/tag83.xml><?xml version="1.0" encoding="utf-8"?>
<p:tagLst xmlns:a="http://schemas.openxmlformats.org/drawingml/2006/main" xmlns:r="http://schemas.openxmlformats.org/officeDocument/2006/relationships" xmlns:p="http://schemas.openxmlformats.org/presentationml/2006/main">
  <p:tag name="NUM" val="11"/>
</p:tagLst>
</file>

<file path=ppt/tags/tag84.xml><?xml version="1.0" encoding="utf-8"?>
<p:tagLst xmlns:a="http://schemas.openxmlformats.org/drawingml/2006/main" xmlns:r="http://schemas.openxmlformats.org/officeDocument/2006/relationships" xmlns:p="http://schemas.openxmlformats.org/presentationml/2006/main">
  <p:tag name="NUM" val="18"/>
</p:tagLst>
</file>

<file path=ppt/tags/tag85.xml><?xml version="1.0" encoding="utf-8"?>
<p:tagLst xmlns:a="http://schemas.openxmlformats.org/drawingml/2006/main" xmlns:r="http://schemas.openxmlformats.org/officeDocument/2006/relationships" xmlns:p="http://schemas.openxmlformats.org/presentationml/2006/main">
  <p:tag name="NUM" val="1"/>
</p:tagLst>
</file>

<file path=ppt/tags/tag86.xml><?xml version="1.0" encoding="utf-8"?>
<p:tagLst xmlns:a="http://schemas.openxmlformats.org/drawingml/2006/main" xmlns:r="http://schemas.openxmlformats.org/officeDocument/2006/relationships" xmlns:p="http://schemas.openxmlformats.org/presentationml/2006/main">
  <p:tag name="NUM" val="2"/>
</p:tagLst>
</file>

<file path=ppt/tags/tag87.xml><?xml version="1.0" encoding="utf-8"?>
<p:tagLst xmlns:a="http://schemas.openxmlformats.org/drawingml/2006/main" xmlns:r="http://schemas.openxmlformats.org/officeDocument/2006/relationships" xmlns:p="http://schemas.openxmlformats.org/presentationml/2006/main">
  <p:tag name="NUM" val="3"/>
</p:tagLst>
</file>

<file path=ppt/tags/tag88.xml><?xml version="1.0" encoding="utf-8"?>
<p:tagLst xmlns:a="http://schemas.openxmlformats.org/drawingml/2006/main" xmlns:r="http://schemas.openxmlformats.org/officeDocument/2006/relationships" xmlns:p="http://schemas.openxmlformats.org/presentationml/2006/main">
  <p:tag name="NUM" val="4"/>
</p:tagLst>
</file>

<file path=ppt/tags/tag89.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ags/tag90.xml><?xml version="1.0" encoding="utf-8"?>
<p:tagLst xmlns:a="http://schemas.openxmlformats.org/drawingml/2006/main" xmlns:r="http://schemas.openxmlformats.org/officeDocument/2006/relationships" xmlns:p="http://schemas.openxmlformats.org/presentationml/2006/main">
  <p:tag name="NUM" val="2"/>
</p:tagLst>
</file>

<file path=ppt/tags/tag91.xml><?xml version="1.0" encoding="utf-8"?>
<p:tagLst xmlns:a="http://schemas.openxmlformats.org/drawingml/2006/main" xmlns:r="http://schemas.openxmlformats.org/officeDocument/2006/relationships" xmlns:p="http://schemas.openxmlformats.org/presentationml/2006/main">
  <p:tag name="NUM" val="3"/>
</p:tagLst>
</file>

<file path=ppt/tags/tag92.xml><?xml version="1.0" encoding="utf-8"?>
<p:tagLst xmlns:a="http://schemas.openxmlformats.org/drawingml/2006/main" xmlns:r="http://schemas.openxmlformats.org/officeDocument/2006/relationships" xmlns:p="http://schemas.openxmlformats.org/presentationml/2006/main">
  <p:tag name="NUM" val="13"/>
</p:tagLst>
</file>

<file path=ppt/tags/tag93.xml><?xml version="1.0" encoding="utf-8"?>
<p:tagLst xmlns:a="http://schemas.openxmlformats.org/drawingml/2006/main" xmlns:r="http://schemas.openxmlformats.org/officeDocument/2006/relationships" xmlns:p="http://schemas.openxmlformats.org/presentationml/2006/main">
  <p:tag name="NUM" val="4"/>
</p:tagLst>
</file>

<file path=ppt/tags/tag94.xml><?xml version="1.0" encoding="utf-8"?>
<p:tagLst xmlns:a="http://schemas.openxmlformats.org/drawingml/2006/main" xmlns:r="http://schemas.openxmlformats.org/officeDocument/2006/relationships" xmlns:p="http://schemas.openxmlformats.org/presentationml/2006/main">
  <p:tag name="NUM" val="5"/>
</p:tagLst>
</file>

<file path=ppt/tags/tag95.xml><?xml version="1.0" encoding="utf-8"?>
<p:tagLst xmlns:a="http://schemas.openxmlformats.org/drawingml/2006/main" xmlns:r="http://schemas.openxmlformats.org/officeDocument/2006/relationships" xmlns:p="http://schemas.openxmlformats.org/presentationml/2006/main">
  <p:tag name="NUM" val="6"/>
</p:tagLst>
</file>

<file path=ppt/tags/tag96.xml><?xml version="1.0" encoding="utf-8"?>
<p:tagLst xmlns:a="http://schemas.openxmlformats.org/drawingml/2006/main" xmlns:r="http://schemas.openxmlformats.org/officeDocument/2006/relationships" xmlns:p="http://schemas.openxmlformats.org/presentationml/2006/main">
  <p:tag name="NUM" val="8"/>
</p:tagLst>
</file>

<file path=ppt/tags/tag97.xml><?xml version="1.0" encoding="utf-8"?>
<p:tagLst xmlns:a="http://schemas.openxmlformats.org/drawingml/2006/main" xmlns:r="http://schemas.openxmlformats.org/officeDocument/2006/relationships" xmlns:p="http://schemas.openxmlformats.org/presentationml/2006/main">
  <p:tag name="NUM" val="7"/>
</p:tagLst>
</file>

<file path=ppt/tags/tag98.xml><?xml version="1.0" encoding="utf-8"?>
<p:tagLst xmlns:a="http://schemas.openxmlformats.org/drawingml/2006/main" xmlns:r="http://schemas.openxmlformats.org/officeDocument/2006/relationships" xmlns:p="http://schemas.openxmlformats.org/presentationml/2006/main">
  <p:tag name="NUM" val="56"/>
</p:tagLst>
</file>

<file path=ppt/tags/tag99.xml><?xml version="1.0" encoding="utf-8"?>
<p:tagLst xmlns:a="http://schemas.openxmlformats.org/drawingml/2006/main" xmlns:r="http://schemas.openxmlformats.org/officeDocument/2006/relationships" xmlns:p="http://schemas.openxmlformats.org/presentationml/2006/main">
  <p:tag name="NUM" val="9"/>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Custom 2">
      <a:majorFont>
        <a:latin typeface="Arial"/>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9082</TotalTime>
  <Words>1504</Words>
  <Application>Microsoft Office PowerPoint</Application>
  <PresentationFormat>Widescreen</PresentationFormat>
  <Paragraphs>178</Paragraphs>
  <Slides>15</Slides>
  <Notes>1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Arial Rounded MT Bold</vt:lpstr>
      <vt:lpstr>Avenir Next LT Pro</vt:lpstr>
      <vt:lpstr>Avenir Next LT Pro Demi</vt:lpstr>
      <vt:lpstr>Calibri</vt:lpstr>
      <vt:lpstr>Calibri Light</vt:lpstr>
      <vt:lpstr>Georgia</vt:lpstr>
      <vt:lpstr>1_Office Theme</vt:lpstr>
      <vt:lpstr>think-cell Slide</vt:lpstr>
      <vt:lpstr>Workplace Optimization Project</vt:lpstr>
      <vt:lpstr>How to use this document</vt:lpstr>
      <vt:lpstr>Agenda</vt:lpstr>
      <vt:lpstr>Context: Budget 2024</vt:lpstr>
      <vt:lpstr>What this means for [Name of organization]</vt:lpstr>
      <vt:lpstr>Beyond a workplace optimization</vt:lpstr>
      <vt:lpstr>The workplace experience - our vision</vt:lpstr>
      <vt:lpstr>New ways of using space</vt:lpstr>
      <vt:lpstr>Unassigned seating</vt:lpstr>
      <vt:lpstr>Quiet Zone</vt:lpstr>
      <vt:lpstr>Neighbourhood</vt:lpstr>
      <vt:lpstr>Contribute to the success of the initiative</vt:lpstr>
      <vt:lpstr>Timeline</vt:lpstr>
      <vt:lpstr>Next steps</vt:lpstr>
      <vt:lpstr>Stay tun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00AC1A28BCC0909FE12B2751E1E62CE1</cp:keywords>
  <cp:lastModifiedBy>Menard, Alexandrine (SPAC/PSPC)</cp:lastModifiedBy>
  <cp:revision>730</cp:revision>
  <dcterms:created xsi:type="dcterms:W3CDTF">2018-01-23T15:59:12Z</dcterms:created>
  <dcterms:modified xsi:type="dcterms:W3CDTF">2024-11-14T16:2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3T13:23:1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177c5e1c-cd09-43a7-a6d7-016a01d92eb5</vt:lpwstr>
  </property>
  <property fmtid="{D5CDD505-2E9C-101B-9397-08002B2CF9AE}" pid="8" name="MSIP_Label_834ed4f5-eae4-40c7-82be-b1cdf720a1b9_ContentBits">
    <vt:lpwstr>0</vt:lpwstr>
  </property>
</Properties>
</file>